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7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305" r:id="rId2"/>
    <p:sldId id="261" r:id="rId3"/>
    <p:sldId id="392" r:id="rId4"/>
    <p:sldId id="400" r:id="rId5"/>
    <p:sldId id="420" r:id="rId6"/>
    <p:sldId id="328" r:id="rId7"/>
    <p:sldId id="336" r:id="rId8"/>
    <p:sldId id="340" r:id="rId9"/>
    <p:sldId id="341" r:id="rId10"/>
    <p:sldId id="342" r:id="rId11"/>
    <p:sldId id="338" r:id="rId12"/>
    <p:sldId id="339" r:id="rId13"/>
    <p:sldId id="438" r:id="rId14"/>
    <p:sldId id="439" r:id="rId15"/>
    <p:sldId id="431" r:id="rId16"/>
    <p:sldId id="433" r:id="rId17"/>
    <p:sldId id="436" r:id="rId18"/>
    <p:sldId id="270" r:id="rId19"/>
    <p:sldId id="437" r:id="rId20"/>
    <p:sldId id="265" r:id="rId21"/>
  </p:sldIdLst>
  <p:sldSz cx="9144000" cy="6858000" type="screen4x3"/>
  <p:notesSz cx="6797675" cy="9926638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816">
          <p15:clr>
            <a:srgbClr val="A4A3A4"/>
          </p15:clr>
        </p15:guide>
        <p15:guide id="3" orient="horz" pos="3840">
          <p15:clr>
            <a:srgbClr val="A4A3A4"/>
          </p15:clr>
        </p15:guide>
        <p15:guide id="4" orient="horz" pos="1056">
          <p15:clr>
            <a:srgbClr val="A4A3A4"/>
          </p15:clr>
        </p15:guide>
        <p15:guide id="5" pos="2880">
          <p15:clr>
            <a:srgbClr val="A4A3A4"/>
          </p15:clr>
        </p15:guide>
        <p15:guide id="6" pos="288">
          <p15:clr>
            <a:srgbClr val="A4A3A4"/>
          </p15:clr>
        </p15:guide>
        <p15:guide id="7" pos="547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0A2E6D"/>
    <a:srgbClr val="0A387A"/>
    <a:srgbClr val="7DC7A0"/>
    <a:srgbClr val="34BE86"/>
    <a:srgbClr val="38C88E"/>
    <a:srgbClr val="34BA84"/>
    <a:srgbClr val="6ED6AC"/>
    <a:srgbClr val="0A1F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2060" autoAdjust="0"/>
  </p:normalViewPr>
  <p:slideViewPr>
    <p:cSldViewPr>
      <p:cViewPr varScale="1">
        <p:scale>
          <a:sx n="69" d="100"/>
          <a:sy n="69" d="100"/>
        </p:scale>
        <p:origin x="1332" y="66"/>
      </p:cViewPr>
      <p:guideLst>
        <p:guide orient="horz" pos="2160"/>
        <p:guide orient="horz" pos="816"/>
        <p:guide orient="horz" pos="3840"/>
        <p:guide orient="horz" pos="1056"/>
        <p:guide pos="2880"/>
        <p:guide pos="288"/>
        <p:guide pos="547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7" d="100"/>
          <a:sy n="87" d="100"/>
        </p:scale>
        <p:origin x="2988" y="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nece-fs1.unog.un.org\data\Shares\Groups\Ehlm\Water%20Convention\Reporting%20Convention\Pilot%202017\6.5.2%20datasheet\6.5.2datasheet_SW_1804_GW_1405_incl.Anaysis_1105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nece-fs1.unog.un.org\data\Shares\Groups\Ehlm\Water%20Convention\Reporting%20Convention\Pilot%202017\UNECE%20Convention%20implementation%20report\Figures%20for%20layout\Figure11-36_Sect_II_AGREEMT_JB_Parties-all-responses_Analysis1709_for_layou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206416346716995E-2"/>
          <c:y val="4.8330404217926184E-2"/>
          <c:w val="0.88332605118575058"/>
          <c:h val="0.8028334002186458"/>
        </c:manualLayout>
      </c:layout>
      <c:areaChart>
        <c:grouping val="standard"/>
        <c:varyColors val="0"/>
        <c:ser>
          <c:idx val="2"/>
          <c:order val="2"/>
          <c:spPr>
            <a:solidFill>
              <a:schemeClr val="accent5">
                <a:lumMod val="20000"/>
                <a:lumOff val="80000"/>
              </a:schemeClr>
            </a:solidFill>
            <a:ln w="25400">
              <a:noFill/>
              <a:prstDash val="dash"/>
            </a:ln>
            <a:effectLst/>
          </c:spPr>
          <c:cat>
            <c:strRef>
              <c:f>Average_analysis1!$A$2:$A$63</c:f>
              <c:strCache>
                <c:ptCount val="62"/>
                <c:pt idx="0">
                  <c:v>Chile</c:v>
                </c:pt>
                <c:pt idx="1">
                  <c:v>Dominican Republic</c:v>
                </c:pt>
                <c:pt idx="2">
                  <c:v>El Salvador </c:v>
                </c:pt>
                <c:pt idx="3">
                  <c:v>Equatorial Guinea</c:v>
                </c:pt>
                <c:pt idx="4">
                  <c:v>Gabon</c:v>
                </c:pt>
                <c:pt idx="5">
                  <c:v>Georgia</c:v>
                </c:pt>
                <c:pt idx="6">
                  <c:v>Honduras</c:v>
                </c:pt>
                <c:pt idx="7">
                  <c:v>Morocco</c:v>
                </c:pt>
                <c:pt idx="8">
                  <c:v>Qatar</c:v>
                </c:pt>
                <c:pt idx="9">
                  <c:v>Republic of Korea</c:v>
                </c:pt>
                <c:pt idx="10">
                  <c:v>Somalia</c:v>
                </c:pt>
                <c:pt idx="11">
                  <c:v>United Kingdom of Great Britain and Northern Ireland</c:v>
                </c:pt>
                <c:pt idx="12">
                  <c:v>Armenia</c:v>
                </c:pt>
                <c:pt idx="13">
                  <c:v>Mexico</c:v>
                </c:pt>
                <c:pt idx="14">
                  <c:v>Venezuela (Bolivarian Republic of)</c:v>
                </c:pt>
                <c:pt idx="15">
                  <c:v>Sierra Leone</c:v>
                </c:pt>
                <c:pt idx="16">
                  <c:v>Iraq</c:v>
                </c:pt>
                <c:pt idx="17">
                  <c:v>Jordan</c:v>
                </c:pt>
                <c:pt idx="18">
                  <c:v>Kenya</c:v>
                </c:pt>
                <c:pt idx="19">
                  <c:v>Senegal</c:v>
                </c:pt>
                <c:pt idx="20">
                  <c:v>Lithuania</c:v>
                </c:pt>
                <c:pt idx="21">
                  <c:v>Gambia</c:v>
                </c:pt>
                <c:pt idx="22">
                  <c:v>Lesotho</c:v>
                </c:pt>
                <c:pt idx="23">
                  <c:v>Chad</c:v>
                </c:pt>
                <c:pt idx="24">
                  <c:v>Paraguay</c:v>
                </c:pt>
                <c:pt idx="25">
                  <c:v>Norway</c:v>
                </c:pt>
                <c:pt idx="26">
                  <c:v>Togo</c:v>
                </c:pt>
                <c:pt idx="27">
                  <c:v>Brazil</c:v>
                </c:pt>
                <c:pt idx="28">
                  <c:v>Zambia</c:v>
                </c:pt>
                <c:pt idx="29">
                  <c:v>Kazakhstan</c:v>
                </c:pt>
                <c:pt idx="30">
                  <c:v>Mali</c:v>
                </c:pt>
                <c:pt idx="31">
                  <c:v>Albania</c:v>
                </c:pt>
                <c:pt idx="32">
                  <c:v>Angola</c:v>
                </c:pt>
                <c:pt idx="33">
                  <c:v>Montenegro</c:v>
                </c:pt>
                <c:pt idx="34">
                  <c:v>Tunisia</c:v>
                </c:pt>
                <c:pt idx="35">
                  <c:v>Benin</c:v>
                </c:pt>
                <c:pt idx="36">
                  <c:v>Uganda</c:v>
                </c:pt>
                <c:pt idx="37">
                  <c:v>Canada</c:v>
                </c:pt>
                <c:pt idx="38">
                  <c:v>Burundi</c:v>
                </c:pt>
                <c:pt idx="39">
                  <c:v>Niger</c:v>
                </c:pt>
                <c:pt idx="40">
                  <c:v>Serbia</c:v>
                </c:pt>
                <c:pt idx="41">
                  <c:v>Ghana</c:v>
                </c:pt>
                <c:pt idx="42">
                  <c:v>Bosnia and Herzegovina</c:v>
                </c:pt>
                <c:pt idx="43">
                  <c:v>Latvia</c:v>
                </c:pt>
                <c:pt idx="44">
                  <c:v>Bulgaria</c:v>
                </c:pt>
                <c:pt idx="45">
                  <c:v>Austria</c:v>
                </c:pt>
                <c:pt idx="46">
                  <c:v>Belgium</c:v>
                </c:pt>
                <c:pt idx="47">
                  <c:v>Botswana</c:v>
                </c:pt>
                <c:pt idx="48">
                  <c:v>Czech Republic</c:v>
                </c:pt>
                <c:pt idx="49">
                  <c:v>Ecuador</c:v>
                </c:pt>
                <c:pt idx="50">
                  <c:v>Estonia</c:v>
                </c:pt>
                <c:pt idx="51">
                  <c:v>Finland</c:v>
                </c:pt>
                <c:pt idx="52">
                  <c:v>Germany</c:v>
                </c:pt>
                <c:pt idx="53">
                  <c:v>Hungary</c:v>
                </c:pt>
                <c:pt idx="54">
                  <c:v>Ireland</c:v>
                </c:pt>
                <c:pt idx="55">
                  <c:v>Italy</c:v>
                </c:pt>
                <c:pt idx="56">
                  <c:v>Luxembourg</c:v>
                </c:pt>
                <c:pt idx="57">
                  <c:v>Namibia</c:v>
                </c:pt>
                <c:pt idx="58">
                  <c:v>Netherlands</c:v>
                </c:pt>
                <c:pt idx="59">
                  <c:v>Romania</c:v>
                </c:pt>
                <c:pt idx="60">
                  <c:v>Slovakia</c:v>
                </c:pt>
                <c:pt idx="61">
                  <c:v>Slovenia</c:v>
                </c:pt>
              </c:strCache>
            </c:strRef>
          </c:cat>
          <c:val>
            <c:numRef>
              <c:f>Average_analysis1!$D$2:$D$63</c:f>
              <c:numCache>
                <c:formatCode>0</c:formatCode>
                <c:ptCount val="62"/>
                <c:pt idx="0">
                  <c:v>59.017161070992181</c:v>
                </c:pt>
                <c:pt idx="1">
                  <c:v>59.017161070992181</c:v>
                </c:pt>
                <c:pt idx="2">
                  <c:v>59.017161070992181</c:v>
                </c:pt>
                <c:pt idx="3">
                  <c:v>59.017161070992181</c:v>
                </c:pt>
                <c:pt idx="4">
                  <c:v>59.017161070992181</c:v>
                </c:pt>
                <c:pt idx="5">
                  <c:v>59.017161070992181</c:v>
                </c:pt>
                <c:pt idx="6">
                  <c:v>59.017161070992181</c:v>
                </c:pt>
                <c:pt idx="7">
                  <c:v>59.017161070992181</c:v>
                </c:pt>
                <c:pt idx="8">
                  <c:v>59.017161070992181</c:v>
                </c:pt>
                <c:pt idx="9">
                  <c:v>59.017161070992181</c:v>
                </c:pt>
                <c:pt idx="10">
                  <c:v>59.017161070992181</c:v>
                </c:pt>
                <c:pt idx="11">
                  <c:v>59.017161070992181</c:v>
                </c:pt>
                <c:pt idx="12">
                  <c:v>59.017161070992181</c:v>
                </c:pt>
                <c:pt idx="13">
                  <c:v>59.017161070992181</c:v>
                </c:pt>
                <c:pt idx="14">
                  <c:v>59.017161070992181</c:v>
                </c:pt>
                <c:pt idx="15">
                  <c:v>59.017161070992181</c:v>
                </c:pt>
                <c:pt idx="16">
                  <c:v>59.017161070992181</c:v>
                </c:pt>
                <c:pt idx="17">
                  <c:v>59.017161070992181</c:v>
                </c:pt>
                <c:pt idx="18">
                  <c:v>59.017161070992181</c:v>
                </c:pt>
                <c:pt idx="19">
                  <c:v>59.017161070992181</c:v>
                </c:pt>
                <c:pt idx="20">
                  <c:v>59.017161070992181</c:v>
                </c:pt>
                <c:pt idx="21">
                  <c:v>59.017161070992181</c:v>
                </c:pt>
                <c:pt idx="22">
                  <c:v>59.017161070992181</c:v>
                </c:pt>
                <c:pt idx="23">
                  <c:v>59.017161070992181</c:v>
                </c:pt>
                <c:pt idx="24">
                  <c:v>59.017161070992181</c:v>
                </c:pt>
                <c:pt idx="25">
                  <c:v>59.017161070992181</c:v>
                </c:pt>
                <c:pt idx="26">
                  <c:v>59.017161070992181</c:v>
                </c:pt>
                <c:pt idx="27">
                  <c:v>59.017161070992181</c:v>
                </c:pt>
                <c:pt idx="28">
                  <c:v>59.017161070992181</c:v>
                </c:pt>
                <c:pt idx="29">
                  <c:v>59.017161070992181</c:v>
                </c:pt>
                <c:pt idx="30">
                  <c:v>59.017161070992181</c:v>
                </c:pt>
                <c:pt idx="31">
                  <c:v>59.017161070992181</c:v>
                </c:pt>
                <c:pt idx="32">
                  <c:v>59.017161070992181</c:v>
                </c:pt>
                <c:pt idx="33">
                  <c:v>59.017161070992181</c:v>
                </c:pt>
                <c:pt idx="34">
                  <c:v>59.017161070992181</c:v>
                </c:pt>
                <c:pt idx="35">
                  <c:v>59.017161070992181</c:v>
                </c:pt>
                <c:pt idx="36">
                  <c:v>59.017161070992181</c:v>
                </c:pt>
                <c:pt idx="37">
                  <c:v>59.017161070992181</c:v>
                </c:pt>
                <c:pt idx="38">
                  <c:v>59.017161070992181</c:v>
                </c:pt>
                <c:pt idx="39">
                  <c:v>59.017161070992181</c:v>
                </c:pt>
                <c:pt idx="40">
                  <c:v>59.017161070992181</c:v>
                </c:pt>
                <c:pt idx="41">
                  <c:v>59.017161070992181</c:v>
                </c:pt>
                <c:pt idx="42">
                  <c:v>59.017161070992181</c:v>
                </c:pt>
                <c:pt idx="43">
                  <c:v>59.017161070992181</c:v>
                </c:pt>
                <c:pt idx="44">
                  <c:v>59.017161070992181</c:v>
                </c:pt>
                <c:pt idx="45">
                  <c:v>59.017161070992181</c:v>
                </c:pt>
                <c:pt idx="46">
                  <c:v>59.017161070992181</c:v>
                </c:pt>
                <c:pt idx="47">
                  <c:v>59.017161070992181</c:v>
                </c:pt>
                <c:pt idx="48">
                  <c:v>59.017161070992181</c:v>
                </c:pt>
                <c:pt idx="49">
                  <c:v>59.017161070992181</c:v>
                </c:pt>
                <c:pt idx="50">
                  <c:v>59.017161070992181</c:v>
                </c:pt>
                <c:pt idx="51">
                  <c:v>59.017161070992181</c:v>
                </c:pt>
                <c:pt idx="52">
                  <c:v>59.017161070992181</c:v>
                </c:pt>
                <c:pt idx="53">
                  <c:v>59.017161070992181</c:v>
                </c:pt>
                <c:pt idx="54">
                  <c:v>59.017161070992181</c:v>
                </c:pt>
                <c:pt idx="55">
                  <c:v>59.017161070992181</c:v>
                </c:pt>
                <c:pt idx="56">
                  <c:v>59.017161070992181</c:v>
                </c:pt>
                <c:pt idx="57">
                  <c:v>59.017161070992181</c:v>
                </c:pt>
                <c:pt idx="58">
                  <c:v>59.017161070992181</c:v>
                </c:pt>
                <c:pt idx="59">
                  <c:v>59.017161070992181</c:v>
                </c:pt>
                <c:pt idx="60">
                  <c:v>59.017161070992181</c:v>
                </c:pt>
                <c:pt idx="61">
                  <c:v>59.017161070992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AF-4E63-9280-A35C33B406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9967168"/>
        <c:axId val="1089970080"/>
      </c:areaChart>
      <c:lineChart>
        <c:grouping val="standard"/>
        <c:varyColors val="0"/>
        <c:ser>
          <c:idx val="1"/>
          <c:order val="1"/>
          <c:tx>
            <c:strRef>
              <c:f>Average_analysis1!$C$1</c:f>
              <c:strCache>
                <c:ptCount val="1"/>
                <c:pt idx="0">
                  <c:v>SDG 6.5.2 Global average</c:v>
                </c:pt>
              </c:strCache>
            </c:strRef>
          </c:tx>
          <c:spPr>
            <a:ln w="25400" cap="rnd">
              <a:solidFill>
                <a:schemeClr val="accent5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Average_analysis1!$A$2:$A$63</c:f>
              <c:strCache>
                <c:ptCount val="62"/>
                <c:pt idx="0">
                  <c:v>Chile</c:v>
                </c:pt>
                <c:pt idx="1">
                  <c:v>Dominican Republic</c:v>
                </c:pt>
                <c:pt idx="2">
                  <c:v>El Salvador </c:v>
                </c:pt>
                <c:pt idx="3">
                  <c:v>Equatorial Guinea</c:v>
                </c:pt>
                <c:pt idx="4">
                  <c:v>Gabon</c:v>
                </c:pt>
                <c:pt idx="5">
                  <c:v>Georgia</c:v>
                </c:pt>
                <c:pt idx="6">
                  <c:v>Honduras</c:v>
                </c:pt>
                <c:pt idx="7">
                  <c:v>Morocco</c:v>
                </c:pt>
                <c:pt idx="8">
                  <c:v>Qatar</c:v>
                </c:pt>
                <c:pt idx="9">
                  <c:v>Republic of Korea</c:v>
                </c:pt>
                <c:pt idx="10">
                  <c:v>Somalia</c:v>
                </c:pt>
                <c:pt idx="11">
                  <c:v>United Kingdom of Great Britain and Northern Ireland</c:v>
                </c:pt>
                <c:pt idx="12">
                  <c:v>Armenia</c:v>
                </c:pt>
                <c:pt idx="13">
                  <c:v>Mexico</c:v>
                </c:pt>
                <c:pt idx="14">
                  <c:v>Venezuela (Bolivarian Republic of)</c:v>
                </c:pt>
                <c:pt idx="15">
                  <c:v>Sierra Leone</c:v>
                </c:pt>
                <c:pt idx="16">
                  <c:v>Iraq</c:v>
                </c:pt>
                <c:pt idx="17">
                  <c:v>Jordan</c:v>
                </c:pt>
                <c:pt idx="18">
                  <c:v>Kenya</c:v>
                </c:pt>
                <c:pt idx="19">
                  <c:v>Senegal</c:v>
                </c:pt>
                <c:pt idx="20">
                  <c:v>Lithuania</c:v>
                </c:pt>
                <c:pt idx="21">
                  <c:v>Gambia</c:v>
                </c:pt>
                <c:pt idx="22">
                  <c:v>Lesotho</c:v>
                </c:pt>
                <c:pt idx="23">
                  <c:v>Chad</c:v>
                </c:pt>
                <c:pt idx="24">
                  <c:v>Paraguay</c:v>
                </c:pt>
                <c:pt idx="25">
                  <c:v>Norway</c:v>
                </c:pt>
                <c:pt idx="26">
                  <c:v>Togo</c:v>
                </c:pt>
                <c:pt idx="27">
                  <c:v>Brazil</c:v>
                </c:pt>
                <c:pt idx="28">
                  <c:v>Zambia</c:v>
                </c:pt>
                <c:pt idx="29">
                  <c:v>Kazakhstan</c:v>
                </c:pt>
                <c:pt idx="30">
                  <c:v>Mali</c:v>
                </c:pt>
                <c:pt idx="31">
                  <c:v>Albania</c:v>
                </c:pt>
                <c:pt idx="32">
                  <c:v>Angola</c:v>
                </c:pt>
                <c:pt idx="33">
                  <c:v>Montenegro</c:v>
                </c:pt>
                <c:pt idx="34">
                  <c:v>Tunisia</c:v>
                </c:pt>
                <c:pt idx="35">
                  <c:v>Benin</c:v>
                </c:pt>
                <c:pt idx="36">
                  <c:v>Uganda</c:v>
                </c:pt>
                <c:pt idx="37">
                  <c:v>Canada</c:v>
                </c:pt>
                <c:pt idx="38">
                  <c:v>Burundi</c:v>
                </c:pt>
                <c:pt idx="39">
                  <c:v>Niger</c:v>
                </c:pt>
                <c:pt idx="40">
                  <c:v>Serbia</c:v>
                </c:pt>
                <c:pt idx="41">
                  <c:v>Ghana</c:v>
                </c:pt>
                <c:pt idx="42">
                  <c:v>Bosnia and Herzegovina</c:v>
                </c:pt>
                <c:pt idx="43">
                  <c:v>Latvia</c:v>
                </c:pt>
                <c:pt idx="44">
                  <c:v>Bulgaria</c:v>
                </c:pt>
                <c:pt idx="45">
                  <c:v>Austria</c:v>
                </c:pt>
                <c:pt idx="46">
                  <c:v>Belgium</c:v>
                </c:pt>
                <c:pt idx="47">
                  <c:v>Botswana</c:v>
                </c:pt>
                <c:pt idx="48">
                  <c:v>Czech Republic</c:v>
                </c:pt>
                <c:pt idx="49">
                  <c:v>Ecuador</c:v>
                </c:pt>
                <c:pt idx="50">
                  <c:v>Estonia</c:v>
                </c:pt>
                <c:pt idx="51">
                  <c:v>Finland</c:v>
                </c:pt>
                <c:pt idx="52">
                  <c:v>Germany</c:v>
                </c:pt>
                <c:pt idx="53">
                  <c:v>Hungary</c:v>
                </c:pt>
                <c:pt idx="54">
                  <c:v>Ireland</c:v>
                </c:pt>
                <c:pt idx="55">
                  <c:v>Italy</c:v>
                </c:pt>
                <c:pt idx="56">
                  <c:v>Luxembourg</c:v>
                </c:pt>
                <c:pt idx="57">
                  <c:v>Namibia</c:v>
                </c:pt>
                <c:pt idx="58">
                  <c:v>Netherlands</c:v>
                </c:pt>
                <c:pt idx="59">
                  <c:v>Romania</c:v>
                </c:pt>
                <c:pt idx="60">
                  <c:v>Slovakia</c:v>
                </c:pt>
                <c:pt idx="61">
                  <c:v>Slovenia</c:v>
                </c:pt>
              </c:strCache>
            </c:strRef>
          </c:cat>
          <c:val>
            <c:numRef>
              <c:f>Average_analysis1!$C$2:$C$63</c:f>
              <c:numCache>
                <c:formatCode>0</c:formatCode>
                <c:ptCount val="62"/>
                <c:pt idx="0">
                  <c:v>59.017161070992174</c:v>
                </c:pt>
                <c:pt idx="1">
                  <c:v>59.017161070992174</c:v>
                </c:pt>
                <c:pt idx="2">
                  <c:v>59.017161070992174</c:v>
                </c:pt>
                <c:pt idx="3">
                  <c:v>59.017161070992174</c:v>
                </c:pt>
                <c:pt idx="4">
                  <c:v>59.017161070992174</c:v>
                </c:pt>
                <c:pt idx="5">
                  <c:v>59.017161070992174</c:v>
                </c:pt>
                <c:pt idx="6">
                  <c:v>59.017161070992174</c:v>
                </c:pt>
                <c:pt idx="7">
                  <c:v>59.017161070992174</c:v>
                </c:pt>
                <c:pt idx="8">
                  <c:v>59.017161070992174</c:v>
                </c:pt>
                <c:pt idx="9">
                  <c:v>59.017161070992174</c:v>
                </c:pt>
                <c:pt idx="10">
                  <c:v>59.017161070992174</c:v>
                </c:pt>
                <c:pt idx="11">
                  <c:v>59.017161070992174</c:v>
                </c:pt>
                <c:pt idx="12">
                  <c:v>59.017161070992174</c:v>
                </c:pt>
                <c:pt idx="13">
                  <c:v>59.017161070992174</c:v>
                </c:pt>
                <c:pt idx="14">
                  <c:v>59.017161070992174</c:v>
                </c:pt>
                <c:pt idx="15">
                  <c:v>59.017161070992174</c:v>
                </c:pt>
                <c:pt idx="16">
                  <c:v>59.017161070992174</c:v>
                </c:pt>
                <c:pt idx="17">
                  <c:v>59.017161070992174</c:v>
                </c:pt>
                <c:pt idx="18">
                  <c:v>59.017161070992174</c:v>
                </c:pt>
                <c:pt idx="19">
                  <c:v>59.017161070992174</c:v>
                </c:pt>
                <c:pt idx="20">
                  <c:v>59.017161070992174</c:v>
                </c:pt>
                <c:pt idx="21">
                  <c:v>59.017161070992174</c:v>
                </c:pt>
                <c:pt idx="22">
                  <c:v>59.017161070992174</c:v>
                </c:pt>
                <c:pt idx="23">
                  <c:v>59.017161070992174</c:v>
                </c:pt>
                <c:pt idx="24">
                  <c:v>59.017161070992174</c:v>
                </c:pt>
                <c:pt idx="25">
                  <c:v>59.017161070992174</c:v>
                </c:pt>
                <c:pt idx="26">
                  <c:v>59.017161070992174</c:v>
                </c:pt>
                <c:pt idx="27">
                  <c:v>59.017161070992174</c:v>
                </c:pt>
                <c:pt idx="28">
                  <c:v>59.017161070992174</c:v>
                </c:pt>
                <c:pt idx="29">
                  <c:v>59.017161070992174</c:v>
                </c:pt>
                <c:pt idx="30">
                  <c:v>59.017161070992174</c:v>
                </c:pt>
                <c:pt idx="31">
                  <c:v>59.017161070992174</c:v>
                </c:pt>
                <c:pt idx="32">
                  <c:v>59.017161070992174</c:v>
                </c:pt>
                <c:pt idx="33">
                  <c:v>59.017161070992174</c:v>
                </c:pt>
                <c:pt idx="34">
                  <c:v>59.017161070992174</c:v>
                </c:pt>
                <c:pt idx="35">
                  <c:v>59.017161070992174</c:v>
                </c:pt>
                <c:pt idx="36">
                  <c:v>59.017161070992174</c:v>
                </c:pt>
                <c:pt idx="37">
                  <c:v>59.017161070992174</c:v>
                </c:pt>
                <c:pt idx="38">
                  <c:v>59.017161070992174</c:v>
                </c:pt>
                <c:pt idx="39">
                  <c:v>59.017161070992174</c:v>
                </c:pt>
                <c:pt idx="40">
                  <c:v>59.017161070992174</c:v>
                </c:pt>
                <c:pt idx="41">
                  <c:v>59.017161070992174</c:v>
                </c:pt>
                <c:pt idx="42">
                  <c:v>59.017161070992174</c:v>
                </c:pt>
                <c:pt idx="43">
                  <c:v>59.017161070992174</c:v>
                </c:pt>
                <c:pt idx="44">
                  <c:v>59.017161070992174</c:v>
                </c:pt>
                <c:pt idx="45">
                  <c:v>59.017161070992174</c:v>
                </c:pt>
                <c:pt idx="46">
                  <c:v>59.017161070992174</c:v>
                </c:pt>
                <c:pt idx="47">
                  <c:v>59.017161070992174</c:v>
                </c:pt>
                <c:pt idx="48">
                  <c:v>59.017161070992174</c:v>
                </c:pt>
                <c:pt idx="49">
                  <c:v>59.017161070992174</c:v>
                </c:pt>
                <c:pt idx="50">
                  <c:v>59.017161070992174</c:v>
                </c:pt>
                <c:pt idx="51">
                  <c:v>59.017161070992174</c:v>
                </c:pt>
                <c:pt idx="52">
                  <c:v>59.017161070992174</c:v>
                </c:pt>
                <c:pt idx="53">
                  <c:v>59.017161070992174</c:v>
                </c:pt>
                <c:pt idx="54">
                  <c:v>59.017161070992174</c:v>
                </c:pt>
                <c:pt idx="55">
                  <c:v>59.017161070992174</c:v>
                </c:pt>
                <c:pt idx="56">
                  <c:v>59.017161070992174</c:v>
                </c:pt>
                <c:pt idx="57">
                  <c:v>59.017161070992174</c:v>
                </c:pt>
                <c:pt idx="58">
                  <c:v>59.017161070992174</c:v>
                </c:pt>
                <c:pt idx="59">
                  <c:v>59.017161070992174</c:v>
                </c:pt>
                <c:pt idx="60">
                  <c:v>59.017161070992174</c:v>
                </c:pt>
                <c:pt idx="61">
                  <c:v>59.0171610709921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0AF-4E63-9280-A35C33B406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89967168"/>
        <c:axId val="1089970080"/>
      </c:lineChart>
      <c:scatterChart>
        <c:scatterStyle val="lineMarker"/>
        <c:varyColors val="0"/>
        <c:ser>
          <c:idx val="0"/>
          <c:order val="0"/>
          <c:tx>
            <c:strRef>
              <c:f>Average_analysis1!$B$1</c:f>
              <c:strCache>
                <c:ptCount val="1"/>
                <c:pt idx="0">
                  <c:v>SDG 6.5.2 national data point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4"/>
            <c:spPr>
              <a:solidFill>
                <a:schemeClr val="accent5"/>
              </a:solidFill>
              <a:ln w="9525">
                <a:solidFill>
                  <a:schemeClr val="accent5"/>
                </a:solidFill>
                <a:round/>
              </a:ln>
              <a:effectLst/>
            </c:spPr>
          </c:marker>
          <c:xVal>
            <c:strRef>
              <c:f>Average_analysis1!$A$2:$A$63</c:f>
              <c:strCache>
                <c:ptCount val="62"/>
                <c:pt idx="0">
                  <c:v>Chile</c:v>
                </c:pt>
                <c:pt idx="1">
                  <c:v>Dominican Republic</c:v>
                </c:pt>
                <c:pt idx="2">
                  <c:v>El Salvador </c:v>
                </c:pt>
                <c:pt idx="3">
                  <c:v>Equatorial Guinea</c:v>
                </c:pt>
                <c:pt idx="4">
                  <c:v>Gabon</c:v>
                </c:pt>
                <c:pt idx="5">
                  <c:v>Georgia</c:v>
                </c:pt>
                <c:pt idx="6">
                  <c:v>Honduras</c:v>
                </c:pt>
                <c:pt idx="7">
                  <c:v>Morocco</c:v>
                </c:pt>
                <c:pt idx="8">
                  <c:v>Qatar</c:v>
                </c:pt>
                <c:pt idx="9">
                  <c:v>Republic of Korea</c:v>
                </c:pt>
                <c:pt idx="10">
                  <c:v>Somalia</c:v>
                </c:pt>
                <c:pt idx="11">
                  <c:v>United Kingdom of Great Britain and Northern Ireland</c:v>
                </c:pt>
                <c:pt idx="12">
                  <c:v>Armenia</c:v>
                </c:pt>
                <c:pt idx="13">
                  <c:v>Mexico</c:v>
                </c:pt>
                <c:pt idx="14">
                  <c:v>Venezuela (Bolivarian Republic of)</c:v>
                </c:pt>
                <c:pt idx="15">
                  <c:v>Sierra Leone</c:v>
                </c:pt>
                <c:pt idx="16">
                  <c:v>Iraq</c:v>
                </c:pt>
                <c:pt idx="17">
                  <c:v>Jordan</c:v>
                </c:pt>
                <c:pt idx="18">
                  <c:v>Kenya</c:v>
                </c:pt>
                <c:pt idx="19">
                  <c:v>Senegal</c:v>
                </c:pt>
                <c:pt idx="20">
                  <c:v>Lithuania</c:v>
                </c:pt>
                <c:pt idx="21">
                  <c:v>Gambia</c:v>
                </c:pt>
                <c:pt idx="22">
                  <c:v>Lesotho</c:v>
                </c:pt>
                <c:pt idx="23">
                  <c:v>Chad</c:v>
                </c:pt>
                <c:pt idx="24">
                  <c:v>Paraguay</c:v>
                </c:pt>
                <c:pt idx="25">
                  <c:v>Norway</c:v>
                </c:pt>
                <c:pt idx="26">
                  <c:v>Togo</c:v>
                </c:pt>
                <c:pt idx="27">
                  <c:v>Brazil</c:v>
                </c:pt>
                <c:pt idx="28">
                  <c:v>Zambia</c:v>
                </c:pt>
                <c:pt idx="29">
                  <c:v>Kazakhstan</c:v>
                </c:pt>
                <c:pt idx="30">
                  <c:v>Mali</c:v>
                </c:pt>
                <c:pt idx="31">
                  <c:v>Albania</c:v>
                </c:pt>
                <c:pt idx="32">
                  <c:v>Angola</c:v>
                </c:pt>
                <c:pt idx="33">
                  <c:v>Montenegro</c:v>
                </c:pt>
                <c:pt idx="34">
                  <c:v>Tunisia</c:v>
                </c:pt>
                <c:pt idx="35">
                  <c:v>Benin</c:v>
                </c:pt>
                <c:pt idx="36">
                  <c:v>Uganda</c:v>
                </c:pt>
                <c:pt idx="37">
                  <c:v>Canada</c:v>
                </c:pt>
                <c:pt idx="38">
                  <c:v>Burundi</c:v>
                </c:pt>
                <c:pt idx="39">
                  <c:v>Niger</c:v>
                </c:pt>
                <c:pt idx="40">
                  <c:v>Serbia</c:v>
                </c:pt>
                <c:pt idx="41">
                  <c:v>Ghana</c:v>
                </c:pt>
                <c:pt idx="42">
                  <c:v>Bosnia and Herzegovina</c:v>
                </c:pt>
                <c:pt idx="43">
                  <c:v>Latvia</c:v>
                </c:pt>
                <c:pt idx="44">
                  <c:v>Bulgaria</c:v>
                </c:pt>
                <c:pt idx="45">
                  <c:v>Austria</c:v>
                </c:pt>
                <c:pt idx="46">
                  <c:v>Belgium</c:v>
                </c:pt>
                <c:pt idx="47">
                  <c:v>Botswana</c:v>
                </c:pt>
                <c:pt idx="48">
                  <c:v>Czech Republic</c:v>
                </c:pt>
                <c:pt idx="49">
                  <c:v>Ecuador</c:v>
                </c:pt>
                <c:pt idx="50">
                  <c:v>Estonia</c:v>
                </c:pt>
                <c:pt idx="51">
                  <c:v>Finland</c:v>
                </c:pt>
                <c:pt idx="52">
                  <c:v>Germany</c:v>
                </c:pt>
                <c:pt idx="53">
                  <c:v>Hungary</c:v>
                </c:pt>
                <c:pt idx="54">
                  <c:v>Ireland</c:v>
                </c:pt>
                <c:pt idx="55">
                  <c:v>Italy</c:v>
                </c:pt>
                <c:pt idx="56">
                  <c:v>Luxembourg</c:v>
                </c:pt>
                <c:pt idx="57">
                  <c:v>Namibia</c:v>
                </c:pt>
                <c:pt idx="58">
                  <c:v>Netherlands</c:v>
                </c:pt>
                <c:pt idx="59">
                  <c:v>Romania</c:v>
                </c:pt>
                <c:pt idx="60">
                  <c:v>Slovakia</c:v>
                </c:pt>
                <c:pt idx="61">
                  <c:v>Slovenia</c:v>
                </c:pt>
              </c:strCache>
            </c:strRef>
          </c:xVal>
          <c:yVal>
            <c:numRef>
              <c:f>Average_analysis1!$B$2:$B$63</c:f>
              <c:numCache>
                <c:formatCode>0</c:formatCode>
                <c:ptCount val="6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 formatCode="0.00">
                  <c:v>0.12380615493455961</c:v>
                </c:pt>
                <c:pt idx="13" formatCode="0.00">
                  <c:v>1.3069735840473489</c:v>
                </c:pt>
                <c:pt idx="14" formatCode="0.00">
                  <c:v>3.5141020297946532</c:v>
                </c:pt>
                <c:pt idx="15" formatCode="0.00">
                  <c:v>7.0204988532110084</c:v>
                </c:pt>
                <c:pt idx="16" formatCode="0.00">
                  <c:v>13.549457695461259</c:v>
                </c:pt>
                <c:pt idx="17" formatCode="0.00">
                  <c:v>21.913822432743583</c:v>
                </c:pt>
                <c:pt idx="18" formatCode="0.00">
                  <c:v>26.754164563351839</c:v>
                </c:pt>
                <c:pt idx="19" formatCode="0.00">
                  <c:v>34.060738768553193</c:v>
                </c:pt>
                <c:pt idx="20" formatCode="0.00">
                  <c:v>34.958268554128139</c:v>
                </c:pt>
                <c:pt idx="21" formatCode="0.00">
                  <c:v>48.988944533686102</c:v>
                </c:pt>
                <c:pt idx="22" formatCode="0.00">
                  <c:v>50</c:v>
                </c:pt>
                <c:pt idx="23" formatCode="0.00">
                  <c:v>50.411587312293491</c:v>
                </c:pt>
                <c:pt idx="24" formatCode="0.00">
                  <c:v>50.855315307655957</c:v>
                </c:pt>
                <c:pt idx="25" formatCode="0.00">
                  <c:v>59.473673022051756</c:v>
                </c:pt>
                <c:pt idx="26" formatCode="0.00">
                  <c:v>60.168393782383426</c:v>
                </c:pt>
                <c:pt idx="27" formatCode="0.00">
                  <c:v>62.355133192781807</c:v>
                </c:pt>
                <c:pt idx="28" formatCode="0.00">
                  <c:v>70.032610790039101</c:v>
                </c:pt>
                <c:pt idx="29" formatCode="0.00">
                  <c:v>72.357604832578701</c:v>
                </c:pt>
                <c:pt idx="30" formatCode="0.00">
                  <c:v>75.347310207250388</c:v>
                </c:pt>
                <c:pt idx="31" formatCode="0.00">
                  <c:v>75.582182359645245</c:v>
                </c:pt>
                <c:pt idx="32" formatCode="0.00">
                  <c:v>78.893193265320051</c:v>
                </c:pt>
                <c:pt idx="33" formatCode="0.00">
                  <c:v>79.505932065659024</c:v>
                </c:pt>
                <c:pt idx="34" formatCode="0.00">
                  <c:v>80.469944475738302</c:v>
                </c:pt>
                <c:pt idx="35" formatCode="0.00">
                  <c:v>81.460149854678292</c:v>
                </c:pt>
                <c:pt idx="36" formatCode="0.00">
                  <c:v>83.555241167759675</c:v>
                </c:pt>
                <c:pt idx="37" formatCode="0.00">
                  <c:v>87.885831357847337</c:v>
                </c:pt>
                <c:pt idx="38" formatCode="0.00">
                  <c:v>88.335324470654015</c:v>
                </c:pt>
                <c:pt idx="39" formatCode="0.00">
                  <c:v>89.649243929022788</c:v>
                </c:pt>
                <c:pt idx="40" formatCode="0.00">
                  <c:v>90.014907374877751</c:v>
                </c:pt>
                <c:pt idx="41" formatCode="0.00">
                  <c:v>91.053771102532892</c:v>
                </c:pt>
                <c:pt idx="42" formatCode="0.00">
                  <c:v>92.599996836690181</c:v>
                </c:pt>
                <c:pt idx="43" formatCode="0.00">
                  <c:v>97.314039312632744</c:v>
                </c:pt>
                <c:pt idx="44" formatCode="0.00">
                  <c:v>99.551823211510097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A0AF-4E63-9280-A35C33B406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89967168"/>
        <c:axId val="1089970080"/>
      </c:scatterChart>
      <c:catAx>
        <c:axId val="10899671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89970080"/>
        <c:crosses val="autoZero"/>
        <c:auto val="1"/>
        <c:lblAlgn val="ctr"/>
        <c:lblOffset val="100"/>
        <c:noMultiLvlLbl val="0"/>
      </c:catAx>
      <c:valAx>
        <c:axId val="108997008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99671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accent5"/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baseline="0" dirty="0">
                <a:effectLst/>
              </a:rPr>
              <a:t>Subjects on which information and data are exchanged (Art. 13) – based on all responses to section II, question 6(b)</a:t>
            </a:r>
          </a:p>
        </c:rich>
      </c:tx>
      <c:layout>
        <c:manualLayout>
          <c:xMode val="edge"/>
          <c:yMode val="edge"/>
          <c:x val="0.11705829400433708"/>
          <c:y val="1.12378092996853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Figure28_Q6b_DATA_EX!$A$7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igure28_Q6b_DATA_EX!$B$3:$L$3</c:f>
              <c:strCache>
                <c:ptCount val="11"/>
                <c:pt idx="0">
                  <c:v>Environmental conditions </c:v>
                </c:pt>
                <c:pt idx="1">
                  <c:v>Research activities and application of best available techniques </c:v>
                </c:pt>
                <c:pt idx="2">
                  <c:v>Emission monitoring data </c:v>
                </c:pt>
                <c:pt idx="3">
                  <c:v>Planned measures taken to prevent, control or reduce transboundary impacts </c:v>
                </c:pt>
                <c:pt idx="4">
                  <c:v>Point source pollution sources </c:v>
                </c:pt>
                <c:pt idx="5">
                  <c:v>Diffuse pollution sources </c:v>
                </c:pt>
                <c:pt idx="6">
                  <c:v>Existing hydromorphological alterations (dams, etc) </c:v>
                </c:pt>
                <c:pt idx="7">
                  <c:v>Discharges </c:v>
                </c:pt>
                <c:pt idx="8">
                  <c:v>Water abstractions </c:v>
                </c:pt>
                <c:pt idx="9">
                  <c:v>Future planned measures with transboundary impacts, such as infrastructure development </c:v>
                </c:pt>
                <c:pt idx="10">
                  <c:v>Other subjects</c:v>
                </c:pt>
              </c:strCache>
            </c:strRef>
          </c:cat>
          <c:val>
            <c:numRef>
              <c:f>Figure28_Q6b_DATA_EX!$B$7:$L$7</c:f>
              <c:numCache>
                <c:formatCode>0%</c:formatCode>
                <c:ptCount val="11"/>
                <c:pt idx="0">
                  <c:v>0.71481481481481479</c:v>
                </c:pt>
                <c:pt idx="1">
                  <c:v>0.64074074074074072</c:v>
                </c:pt>
                <c:pt idx="2">
                  <c:v>0.44814814814814813</c:v>
                </c:pt>
                <c:pt idx="3">
                  <c:v>0.66296296296296298</c:v>
                </c:pt>
                <c:pt idx="4">
                  <c:v>0.51111111111111107</c:v>
                </c:pt>
                <c:pt idx="5">
                  <c:v>0.47407407407407409</c:v>
                </c:pt>
                <c:pt idx="6">
                  <c:v>0.62592592592592589</c:v>
                </c:pt>
                <c:pt idx="7">
                  <c:v>0.67777777777777781</c:v>
                </c:pt>
                <c:pt idx="8">
                  <c:v>0.5</c:v>
                </c:pt>
                <c:pt idx="9">
                  <c:v>0.64444444444444449</c:v>
                </c:pt>
                <c:pt idx="10">
                  <c:v>0.13988095238095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B0-41BE-8F2C-E6E641491885}"/>
            </c:ext>
          </c:extLst>
        </c:ser>
        <c:ser>
          <c:idx val="1"/>
          <c:order val="1"/>
          <c:tx>
            <c:strRef>
              <c:f>Figure28_Q6b_DATA_EX!$A$8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igure28_Q6b_DATA_EX!$B$3:$L$3</c:f>
              <c:strCache>
                <c:ptCount val="11"/>
                <c:pt idx="0">
                  <c:v>Environmental conditions </c:v>
                </c:pt>
                <c:pt idx="1">
                  <c:v>Research activities and application of best available techniques </c:v>
                </c:pt>
                <c:pt idx="2">
                  <c:v>Emission monitoring data </c:v>
                </c:pt>
                <c:pt idx="3">
                  <c:v>Planned measures taken to prevent, control or reduce transboundary impacts </c:v>
                </c:pt>
                <c:pt idx="4">
                  <c:v>Point source pollution sources </c:v>
                </c:pt>
                <c:pt idx="5">
                  <c:v>Diffuse pollution sources </c:v>
                </c:pt>
                <c:pt idx="6">
                  <c:v>Existing hydromorphological alterations (dams, etc) </c:v>
                </c:pt>
                <c:pt idx="7">
                  <c:v>Discharges </c:v>
                </c:pt>
                <c:pt idx="8">
                  <c:v>Water abstractions </c:v>
                </c:pt>
                <c:pt idx="9">
                  <c:v>Future planned measures with transboundary impacts, such as infrastructure development </c:v>
                </c:pt>
                <c:pt idx="10">
                  <c:v>Other subjects</c:v>
                </c:pt>
              </c:strCache>
            </c:strRef>
          </c:cat>
          <c:val>
            <c:numRef>
              <c:f>Figure28_Q6b_DATA_EX!$B$8:$L$8</c:f>
              <c:numCache>
                <c:formatCode>0%</c:formatCode>
                <c:ptCount val="11"/>
                <c:pt idx="0">
                  <c:v>0.28518518518518521</c:v>
                </c:pt>
                <c:pt idx="1">
                  <c:v>0.35925925925925928</c:v>
                </c:pt>
                <c:pt idx="2">
                  <c:v>0.55185185185185182</c:v>
                </c:pt>
                <c:pt idx="3">
                  <c:v>0.33703703703703702</c:v>
                </c:pt>
                <c:pt idx="4">
                  <c:v>0.48888888888888887</c:v>
                </c:pt>
                <c:pt idx="5">
                  <c:v>0.52592592592592591</c:v>
                </c:pt>
                <c:pt idx="6">
                  <c:v>0.37407407407407406</c:v>
                </c:pt>
                <c:pt idx="7">
                  <c:v>0.32222222222222224</c:v>
                </c:pt>
                <c:pt idx="8">
                  <c:v>0.5</c:v>
                </c:pt>
                <c:pt idx="9">
                  <c:v>0.35555555555555557</c:v>
                </c:pt>
                <c:pt idx="10">
                  <c:v>0.860119047619047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B0-41BE-8F2C-E6E64149188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530864735"/>
        <c:axId val="1530871391"/>
      </c:barChart>
      <c:catAx>
        <c:axId val="1530864735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30871391"/>
        <c:crosses val="autoZero"/>
        <c:auto val="1"/>
        <c:lblAlgn val="ctr"/>
        <c:lblOffset val="100"/>
        <c:noMultiLvlLbl val="0"/>
      </c:catAx>
      <c:valAx>
        <c:axId val="1530871391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5308647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1435A3-0A8B-43DC-BD4C-87AFC1EF241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4D8D3883-B39F-48B2-BEED-55E29F02AE43}">
      <dgm:prSet phldrT="[Text]" custT="1"/>
      <dgm:spPr/>
      <dgm:t>
        <a:bodyPr/>
        <a:lstStyle/>
        <a:p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Status</a:t>
          </a:r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 of </a:t>
          </a:r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transboundary</a:t>
          </a:r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 waters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95026CA-93CF-4A2C-9419-D199CA69EE85}" type="parTrans" cxnId="{7BDF2DB3-68A9-4557-AD91-397DD2894D56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2F0130-0D4E-40A3-B98E-B9CA8961C2CB}" type="sibTrans" cxnId="{7BDF2DB3-68A9-4557-AD91-397DD2894D56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BFA1363-625E-44C3-A583-744B74978D0C}">
      <dgm:prSet phldrT="[Text]" custT="1"/>
      <dgm:spPr/>
      <dgm:t>
        <a:bodyPr/>
        <a:lstStyle/>
        <a:p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quality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9B0311-682F-4D17-85CA-834187BBD6D6}" type="parTrans" cxnId="{C79CA8F7-A2AD-4A84-8E42-BE54E16997FC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F91162-5818-4DA0-BA7E-0505716F7FF9}" type="sibTrans" cxnId="{C79CA8F7-A2AD-4A84-8E42-BE54E16997FC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D52917-F249-43ED-9D7F-8E38D2014FDD}">
      <dgm:prSet phldrT="[Text]" custT="1"/>
      <dgm:spPr/>
      <dgm:t>
        <a:bodyPr/>
        <a:lstStyle/>
        <a:p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Pressures &amp; </a:t>
          </a:r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cooperation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B881AF-5716-4A15-852C-CC88CAAD9038}" type="parTrans" cxnId="{9ACAB8C6-B08A-45DA-999F-7179A696A371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1564337-DD11-40AB-8428-EE90815505C8}" type="sibTrans" cxnId="{9ACAB8C6-B08A-45DA-999F-7179A696A371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5E6437-5095-4D1C-B9F3-9E51ED7174E4}">
      <dgm:prSet phldrT="[Text]" custT="1"/>
      <dgm:spPr/>
      <dgm:t>
        <a:bodyPr/>
        <a:lstStyle/>
        <a:p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Pollution</a:t>
          </a:r>
        </a:p>
        <a:p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Flow </a:t>
          </a:r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regulation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E464CFD-066A-4353-A69C-660AF4C8F4A9}" type="parTrans" cxnId="{50B5DFDB-3034-44BF-9FBF-2B11B1173AFC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AB913B-CDA8-4A0A-A95D-6866959347F4}" type="sibTrans" cxnId="{50B5DFDB-3034-44BF-9FBF-2B11B1173AFC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589A162-2C7A-4522-BB48-DF15EC846B40}">
      <dgm:prSet phldrT="[Text]" custT="1"/>
      <dgm:spPr/>
      <dgm:t>
        <a:bodyPr/>
        <a:lstStyle/>
        <a:p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Joint </a:t>
          </a:r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modelling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CA9FD9-E225-4290-A63C-CAF3FBF0CDF2}" type="parTrans" cxnId="{3596CF26-39F4-418D-801F-E770399AF01D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F108A9-2614-4DC6-AF1E-CEE65B1CA5B5}" type="sibTrans" cxnId="{3596CF26-39F4-418D-801F-E770399AF01D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A3A2DF-4611-43C1-8288-DE2910AB9498}">
      <dgm:prSet phldrT="[Text]" custT="1"/>
      <dgm:spPr/>
      <dgm:t>
        <a:bodyPr/>
        <a:lstStyle/>
        <a:p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sectoral</a:t>
          </a:r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policies</a:t>
          </a:r>
          <a:endParaRPr lang="fr-CH" sz="1800" dirty="0"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nexus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90BB67-8765-472B-BEAF-C3BEA4405344}" type="parTrans" cxnId="{31C2C900-A014-42CA-B867-28A505C9BF99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AF628F-F951-4A42-A390-1AA91D483102}" type="sibTrans" cxnId="{31C2C900-A014-42CA-B867-28A505C9BF99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FE11A7A-26C5-4A94-961C-D9C7546AB194}">
      <dgm:prSet phldrT="[Text]" custT="1"/>
      <dgm:spPr/>
      <dgm:t>
        <a:bodyPr/>
        <a:lstStyle/>
        <a:p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Indirect </a:t>
          </a:r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effects</a:t>
          </a:r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 on waters 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EA1851-67D7-42AF-A6DE-517A8FC73C1F}" type="parTrans" cxnId="{2AD312C3-F88F-4ADE-BE21-0013180D4312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95C48AB-5A89-4A46-9D80-6EDFE99C95AF}" type="sibTrans" cxnId="{2AD312C3-F88F-4ADE-BE21-0013180D4312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E8E3141-51EA-4F17-8DAC-1F42B6A358B6}">
      <dgm:prSet phldrT="[Text]" custT="1"/>
      <dgm:spPr/>
      <dgm:t>
        <a:bodyPr/>
        <a:lstStyle/>
        <a:p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quantity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AFD4178-A542-4DF0-B79B-CBE7A262B5B6}" type="parTrans" cxnId="{B6B8C910-EC04-4435-8F32-88C1E211346C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FD12F8-05A6-4524-8623-9FC8A85C53D0}" type="sibTrans" cxnId="{B6B8C910-EC04-4435-8F32-88C1E211346C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3B83483-BFDB-4A60-AD79-48E38E08F627}">
      <dgm:prSet phldrT="[Text]" custT="1"/>
      <dgm:spPr/>
      <dgm:t>
        <a:bodyPr/>
        <a:lstStyle/>
        <a:p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scenarios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985693-8295-4247-A85E-D43923492A2A}" type="parTrans" cxnId="{D3F545EA-171B-440F-AD10-28C23592F69D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F3108E-CD33-49B0-9893-D6065BCCD95F}" type="sibTrans" cxnId="{D3F545EA-171B-440F-AD10-28C23592F69D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46CA759-F46C-45A0-B08D-8179877E197E}">
      <dgm:prSet phldrT="[Text]" custT="1"/>
      <dgm:spPr/>
      <dgm:t>
        <a:bodyPr/>
        <a:lstStyle/>
        <a:p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vulnerability</a:t>
          </a:r>
          <a:r>
            <a:rPr lang="fr-CH" sz="1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CH" sz="1800" dirty="0" err="1">
              <a:latin typeface="Arial" panose="020B0604020202020204" pitchFamily="34" charset="0"/>
              <a:cs typeface="Arial" panose="020B0604020202020204" pitchFamily="34" charset="0"/>
            </a:rPr>
            <a:t>assessments</a:t>
          </a:r>
          <a:endParaRPr lang="en-GB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5D24889-751C-4A0F-A2BD-291FCBB7B776}" type="parTrans" cxnId="{D8BE8B3E-5D1A-4485-8E6F-6293CD01B518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242F349-549D-4CE0-8C99-7152115AE100}" type="sibTrans" cxnId="{D8BE8B3E-5D1A-4485-8E6F-6293CD01B518}">
      <dgm:prSet/>
      <dgm:spPr/>
      <dgm:t>
        <a:bodyPr/>
        <a:lstStyle/>
        <a:p>
          <a:endParaRPr lang="en-GB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468B76-BCDF-4698-8617-EAB89FE610FC}" type="pres">
      <dgm:prSet presAssocID="{DD1435A3-0A8B-43DC-BD4C-87AFC1EF2417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AAD0DE0A-AA52-4211-A421-841D849B10FF}" type="pres">
      <dgm:prSet presAssocID="{4D8D3883-B39F-48B2-BEED-55E29F02AE43}" presName="parentText1" presStyleLbl="node1" presStyleIdx="0" presStyleCnt="4">
        <dgm:presLayoutVars>
          <dgm:chMax/>
          <dgm:chPref val="3"/>
          <dgm:bulletEnabled val="1"/>
        </dgm:presLayoutVars>
      </dgm:prSet>
      <dgm:spPr/>
    </dgm:pt>
    <dgm:pt modelId="{A20598F9-1D96-48EF-81E5-3A7A16F01E93}" type="pres">
      <dgm:prSet presAssocID="{4D8D3883-B39F-48B2-BEED-55E29F02AE43}" presName="childText1" presStyleLbl="solidAlignAcc1" presStyleIdx="0" presStyleCnt="4">
        <dgm:presLayoutVars>
          <dgm:chMax val="0"/>
          <dgm:chPref val="0"/>
          <dgm:bulletEnabled val="1"/>
        </dgm:presLayoutVars>
      </dgm:prSet>
      <dgm:spPr/>
    </dgm:pt>
    <dgm:pt modelId="{0BFA47A2-05C2-4914-8A23-AFB505036D14}" type="pres">
      <dgm:prSet presAssocID="{4AD52917-F249-43ED-9D7F-8E38D2014FDD}" presName="parentText2" presStyleLbl="node1" presStyleIdx="1" presStyleCnt="4">
        <dgm:presLayoutVars>
          <dgm:chMax/>
          <dgm:chPref val="3"/>
          <dgm:bulletEnabled val="1"/>
        </dgm:presLayoutVars>
      </dgm:prSet>
      <dgm:spPr/>
    </dgm:pt>
    <dgm:pt modelId="{49915BBC-2370-41B8-8EAE-CD69573FD7D6}" type="pres">
      <dgm:prSet presAssocID="{4AD52917-F249-43ED-9D7F-8E38D2014FDD}" presName="childText2" presStyleLbl="solidAlignAcc1" presStyleIdx="1" presStyleCnt="4">
        <dgm:presLayoutVars>
          <dgm:chMax val="0"/>
          <dgm:chPref val="0"/>
          <dgm:bulletEnabled val="1"/>
        </dgm:presLayoutVars>
      </dgm:prSet>
      <dgm:spPr/>
    </dgm:pt>
    <dgm:pt modelId="{50C7D21E-F9D5-4C4D-A0B3-D49EE8F2F5E5}" type="pres">
      <dgm:prSet presAssocID="{D589A162-2C7A-4522-BB48-DF15EC846B40}" presName="parentText3" presStyleLbl="node1" presStyleIdx="2" presStyleCnt="4">
        <dgm:presLayoutVars>
          <dgm:chMax/>
          <dgm:chPref val="3"/>
          <dgm:bulletEnabled val="1"/>
        </dgm:presLayoutVars>
      </dgm:prSet>
      <dgm:spPr/>
    </dgm:pt>
    <dgm:pt modelId="{A1799288-608D-4003-80F3-E3E11729C6BA}" type="pres">
      <dgm:prSet presAssocID="{D589A162-2C7A-4522-BB48-DF15EC846B40}" presName="childText3" presStyleLbl="solidAlignAcc1" presStyleIdx="2" presStyleCnt="4">
        <dgm:presLayoutVars>
          <dgm:chMax val="0"/>
          <dgm:chPref val="0"/>
          <dgm:bulletEnabled val="1"/>
        </dgm:presLayoutVars>
      </dgm:prSet>
      <dgm:spPr/>
    </dgm:pt>
    <dgm:pt modelId="{0CC5318E-8CEC-4712-A7CC-6BAF36E9F762}" type="pres">
      <dgm:prSet presAssocID="{AFE11A7A-26C5-4A94-961C-D9C7546AB194}" presName="parentText4" presStyleLbl="node1" presStyleIdx="3" presStyleCnt="4">
        <dgm:presLayoutVars>
          <dgm:chMax/>
          <dgm:chPref val="3"/>
          <dgm:bulletEnabled val="1"/>
        </dgm:presLayoutVars>
      </dgm:prSet>
      <dgm:spPr/>
    </dgm:pt>
    <dgm:pt modelId="{A58DB9EF-D4E7-422B-83AE-38E386624E0F}" type="pres">
      <dgm:prSet presAssocID="{AFE11A7A-26C5-4A94-961C-D9C7546AB194}" presName="childText4" presStyleLbl="solidAlignAcc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31C2C900-A014-42CA-B867-28A505C9BF99}" srcId="{AFE11A7A-26C5-4A94-961C-D9C7546AB194}" destId="{95A3A2DF-4611-43C1-8288-DE2910AB9498}" srcOrd="0" destOrd="0" parTransId="{9990BB67-8765-472B-BEAF-C3BEA4405344}" sibTransId="{ADAF628F-F951-4A42-A390-1AA91D483102}"/>
    <dgm:cxn modelId="{CFA79C0B-D011-4292-B31E-BF799F938B89}" type="presOf" srcId="{D589A162-2C7A-4522-BB48-DF15EC846B40}" destId="{50C7D21E-F9D5-4C4D-A0B3-D49EE8F2F5E5}" srcOrd="0" destOrd="0" presId="urn:microsoft.com/office/officeart/2009/3/layout/IncreasingArrowsProcess"/>
    <dgm:cxn modelId="{B6B8C910-EC04-4435-8F32-88C1E211346C}" srcId="{4D8D3883-B39F-48B2-BEED-55E29F02AE43}" destId="{FE8E3141-51EA-4F17-8DAC-1F42B6A358B6}" srcOrd="1" destOrd="0" parTransId="{9AFD4178-A542-4DF0-B79B-CBE7A262B5B6}" sibTransId="{6FFD12F8-05A6-4524-8623-9FC8A85C53D0}"/>
    <dgm:cxn modelId="{911D4D17-DA36-4714-9208-A0BFB651F134}" type="presOf" srcId="{AFE11A7A-26C5-4A94-961C-D9C7546AB194}" destId="{0CC5318E-8CEC-4712-A7CC-6BAF36E9F762}" srcOrd="0" destOrd="0" presId="urn:microsoft.com/office/officeart/2009/3/layout/IncreasingArrowsProcess"/>
    <dgm:cxn modelId="{3596CF26-39F4-418D-801F-E770399AF01D}" srcId="{DD1435A3-0A8B-43DC-BD4C-87AFC1EF2417}" destId="{D589A162-2C7A-4522-BB48-DF15EC846B40}" srcOrd="2" destOrd="0" parTransId="{FECA9FD9-E225-4290-A63C-CAF3FBF0CDF2}" sibTransId="{AFF108A9-2614-4DC6-AF1E-CEE65B1CA5B5}"/>
    <dgm:cxn modelId="{D71EB833-EF97-42BB-9D67-143B141BF557}" type="presOf" srcId="{F46CA759-F46C-45A0-B08D-8179877E197E}" destId="{A1799288-608D-4003-80F3-E3E11729C6BA}" srcOrd="0" destOrd="1" presId="urn:microsoft.com/office/officeart/2009/3/layout/IncreasingArrowsProcess"/>
    <dgm:cxn modelId="{D8BE8B3E-5D1A-4485-8E6F-6293CD01B518}" srcId="{D589A162-2C7A-4522-BB48-DF15EC846B40}" destId="{F46CA759-F46C-45A0-B08D-8179877E197E}" srcOrd="1" destOrd="0" parTransId="{B5D24889-751C-4A0F-A2BD-291FCBB7B776}" sibTransId="{C242F349-549D-4CE0-8C99-7152115AE100}"/>
    <dgm:cxn modelId="{B468DD61-B107-4B87-9591-2CF3846A6D8D}" type="presOf" srcId="{715E6437-5095-4D1C-B9F3-9E51ED7174E4}" destId="{49915BBC-2370-41B8-8EAE-CD69573FD7D6}" srcOrd="0" destOrd="0" presId="urn:microsoft.com/office/officeart/2009/3/layout/IncreasingArrowsProcess"/>
    <dgm:cxn modelId="{C7D4CF45-FC4E-4B91-AEF5-76DF66B2BA59}" type="presOf" srcId="{FE8E3141-51EA-4F17-8DAC-1F42B6A358B6}" destId="{A20598F9-1D96-48EF-81E5-3A7A16F01E93}" srcOrd="0" destOrd="1" presId="urn:microsoft.com/office/officeart/2009/3/layout/IncreasingArrowsProcess"/>
    <dgm:cxn modelId="{57A1326F-37E9-467A-BBF2-1AE3A985BB82}" type="presOf" srcId="{53B83483-BFDB-4A60-AD79-48E38E08F627}" destId="{A1799288-608D-4003-80F3-E3E11729C6BA}" srcOrd="0" destOrd="0" presId="urn:microsoft.com/office/officeart/2009/3/layout/IncreasingArrowsProcess"/>
    <dgm:cxn modelId="{C0E1847F-B7F6-4D58-81CE-DA9EEEDB77EE}" type="presOf" srcId="{95A3A2DF-4611-43C1-8288-DE2910AB9498}" destId="{A58DB9EF-D4E7-422B-83AE-38E386624E0F}" srcOrd="0" destOrd="0" presId="urn:microsoft.com/office/officeart/2009/3/layout/IncreasingArrowsProcess"/>
    <dgm:cxn modelId="{5BB7B07F-1321-4996-8D26-72553104A8DD}" type="presOf" srcId="{DD1435A3-0A8B-43DC-BD4C-87AFC1EF2417}" destId="{26468B76-BCDF-4698-8617-EAB89FE610FC}" srcOrd="0" destOrd="0" presId="urn:microsoft.com/office/officeart/2009/3/layout/IncreasingArrowsProcess"/>
    <dgm:cxn modelId="{CA5DF699-9D41-4AF4-8537-B189FE33B7E0}" type="presOf" srcId="{4AD52917-F249-43ED-9D7F-8E38D2014FDD}" destId="{0BFA47A2-05C2-4914-8A23-AFB505036D14}" srcOrd="0" destOrd="0" presId="urn:microsoft.com/office/officeart/2009/3/layout/IncreasingArrowsProcess"/>
    <dgm:cxn modelId="{7BDF2DB3-68A9-4557-AD91-397DD2894D56}" srcId="{DD1435A3-0A8B-43DC-BD4C-87AFC1EF2417}" destId="{4D8D3883-B39F-48B2-BEED-55E29F02AE43}" srcOrd="0" destOrd="0" parTransId="{395026CA-93CF-4A2C-9419-D199CA69EE85}" sibTransId="{7D2F0130-0D4E-40A3-B98E-B9CA8961C2CB}"/>
    <dgm:cxn modelId="{2AD312C3-F88F-4ADE-BE21-0013180D4312}" srcId="{DD1435A3-0A8B-43DC-BD4C-87AFC1EF2417}" destId="{AFE11A7A-26C5-4A94-961C-D9C7546AB194}" srcOrd="3" destOrd="0" parTransId="{95EA1851-67D7-42AF-A6DE-517A8FC73C1F}" sibTransId="{595C48AB-5A89-4A46-9D80-6EDFE99C95AF}"/>
    <dgm:cxn modelId="{9ACAB8C6-B08A-45DA-999F-7179A696A371}" srcId="{DD1435A3-0A8B-43DC-BD4C-87AFC1EF2417}" destId="{4AD52917-F249-43ED-9D7F-8E38D2014FDD}" srcOrd="1" destOrd="0" parTransId="{F8B881AF-5716-4A15-852C-CC88CAAD9038}" sibTransId="{A1564337-DD11-40AB-8428-EE90815505C8}"/>
    <dgm:cxn modelId="{B7B6A5C9-35CE-445D-9B98-6C7C12BE53D9}" type="presOf" srcId="{ABFA1363-625E-44C3-A583-744B74978D0C}" destId="{A20598F9-1D96-48EF-81E5-3A7A16F01E93}" srcOrd="0" destOrd="0" presId="urn:microsoft.com/office/officeart/2009/3/layout/IncreasingArrowsProcess"/>
    <dgm:cxn modelId="{50B5DFDB-3034-44BF-9FBF-2B11B1173AFC}" srcId="{4AD52917-F249-43ED-9D7F-8E38D2014FDD}" destId="{715E6437-5095-4D1C-B9F3-9E51ED7174E4}" srcOrd="0" destOrd="0" parTransId="{8E464CFD-066A-4353-A69C-660AF4C8F4A9}" sibTransId="{B6AB913B-CDA8-4A0A-A95D-6866959347F4}"/>
    <dgm:cxn modelId="{D3F545EA-171B-440F-AD10-28C23592F69D}" srcId="{D589A162-2C7A-4522-BB48-DF15EC846B40}" destId="{53B83483-BFDB-4A60-AD79-48E38E08F627}" srcOrd="0" destOrd="0" parTransId="{09985693-8295-4247-A85E-D43923492A2A}" sibTransId="{B6F3108E-CD33-49B0-9893-D6065BCCD95F}"/>
    <dgm:cxn modelId="{C79CA8F7-A2AD-4A84-8E42-BE54E16997FC}" srcId="{4D8D3883-B39F-48B2-BEED-55E29F02AE43}" destId="{ABFA1363-625E-44C3-A583-744B74978D0C}" srcOrd="0" destOrd="0" parTransId="{C29B0311-682F-4D17-85CA-834187BBD6D6}" sibTransId="{FAF91162-5818-4DA0-BA7E-0505716F7FF9}"/>
    <dgm:cxn modelId="{457A38FF-EB86-4981-AC5E-D8C8DF1E5F56}" type="presOf" srcId="{4D8D3883-B39F-48B2-BEED-55E29F02AE43}" destId="{AAD0DE0A-AA52-4211-A421-841D849B10FF}" srcOrd="0" destOrd="0" presId="urn:microsoft.com/office/officeart/2009/3/layout/IncreasingArrowsProcess"/>
    <dgm:cxn modelId="{BA507BB4-326E-4C4A-9244-3A127906BBAE}" type="presParOf" srcId="{26468B76-BCDF-4698-8617-EAB89FE610FC}" destId="{AAD0DE0A-AA52-4211-A421-841D849B10FF}" srcOrd="0" destOrd="0" presId="urn:microsoft.com/office/officeart/2009/3/layout/IncreasingArrowsProcess"/>
    <dgm:cxn modelId="{5B3B5300-7553-431C-9101-3BA2D0193165}" type="presParOf" srcId="{26468B76-BCDF-4698-8617-EAB89FE610FC}" destId="{A20598F9-1D96-48EF-81E5-3A7A16F01E93}" srcOrd="1" destOrd="0" presId="urn:microsoft.com/office/officeart/2009/3/layout/IncreasingArrowsProcess"/>
    <dgm:cxn modelId="{C09D520E-9E76-466C-9206-7B98FCE36D40}" type="presParOf" srcId="{26468B76-BCDF-4698-8617-EAB89FE610FC}" destId="{0BFA47A2-05C2-4914-8A23-AFB505036D14}" srcOrd="2" destOrd="0" presId="urn:microsoft.com/office/officeart/2009/3/layout/IncreasingArrowsProcess"/>
    <dgm:cxn modelId="{7DAF759F-2DA8-47A4-BE72-9794F5FB91AF}" type="presParOf" srcId="{26468B76-BCDF-4698-8617-EAB89FE610FC}" destId="{49915BBC-2370-41B8-8EAE-CD69573FD7D6}" srcOrd="3" destOrd="0" presId="urn:microsoft.com/office/officeart/2009/3/layout/IncreasingArrowsProcess"/>
    <dgm:cxn modelId="{2A8A54F5-8E08-485D-ADBF-4085D9AE5E03}" type="presParOf" srcId="{26468B76-BCDF-4698-8617-EAB89FE610FC}" destId="{50C7D21E-F9D5-4C4D-A0B3-D49EE8F2F5E5}" srcOrd="4" destOrd="0" presId="urn:microsoft.com/office/officeart/2009/3/layout/IncreasingArrowsProcess"/>
    <dgm:cxn modelId="{E31503DC-446F-4D3E-8393-78ECC8520BB4}" type="presParOf" srcId="{26468B76-BCDF-4698-8617-EAB89FE610FC}" destId="{A1799288-608D-4003-80F3-E3E11729C6BA}" srcOrd="5" destOrd="0" presId="urn:microsoft.com/office/officeart/2009/3/layout/IncreasingArrowsProcess"/>
    <dgm:cxn modelId="{FBC383C4-D77A-48BF-A86A-E4F1E5A43534}" type="presParOf" srcId="{26468B76-BCDF-4698-8617-EAB89FE610FC}" destId="{0CC5318E-8CEC-4712-A7CC-6BAF36E9F762}" srcOrd="6" destOrd="0" presId="urn:microsoft.com/office/officeart/2009/3/layout/IncreasingArrowsProcess"/>
    <dgm:cxn modelId="{D3D2BDAE-A4EF-454E-A391-43EBB485A7AC}" type="presParOf" srcId="{26468B76-BCDF-4698-8617-EAB89FE610FC}" destId="{A58DB9EF-D4E7-422B-83AE-38E386624E0F}" srcOrd="7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D0DE0A-AA52-4211-A421-841D849B10FF}">
      <dsp:nvSpPr>
        <dsp:cNvPr id="0" name=""/>
        <dsp:cNvSpPr/>
      </dsp:nvSpPr>
      <dsp:spPr>
        <a:xfrm>
          <a:off x="72359" y="276751"/>
          <a:ext cx="8084880" cy="1177037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685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Status</a:t>
          </a: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 of </a:t>
          </a: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transboundary</a:t>
          </a: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 waters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2359" y="571010"/>
        <a:ext cx="7790621" cy="588519"/>
      </dsp:txXfrm>
    </dsp:sp>
    <dsp:sp modelId="{A20598F9-1D96-48EF-81E5-3A7A16F01E93}">
      <dsp:nvSpPr>
        <dsp:cNvPr id="0" name=""/>
        <dsp:cNvSpPr/>
      </dsp:nvSpPr>
      <dsp:spPr>
        <a:xfrm>
          <a:off x="72359" y="1186337"/>
          <a:ext cx="1863564" cy="21771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quality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quantity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72359" y="1186337"/>
        <a:ext cx="1863564" cy="2177164"/>
      </dsp:txXfrm>
    </dsp:sp>
    <dsp:sp modelId="{0BFA47A2-05C2-4914-8A23-AFB505036D14}">
      <dsp:nvSpPr>
        <dsp:cNvPr id="0" name=""/>
        <dsp:cNvSpPr/>
      </dsp:nvSpPr>
      <dsp:spPr>
        <a:xfrm>
          <a:off x="1935924" y="668958"/>
          <a:ext cx="6221315" cy="1177037"/>
        </a:xfrm>
        <a:prstGeom prst="rightArrow">
          <a:avLst>
            <a:gd name="adj1" fmla="val 5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685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Pressures &amp; </a:t>
          </a: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cooperation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935924" y="963217"/>
        <a:ext cx="5927056" cy="588519"/>
      </dsp:txXfrm>
    </dsp:sp>
    <dsp:sp modelId="{49915BBC-2370-41B8-8EAE-CD69573FD7D6}">
      <dsp:nvSpPr>
        <dsp:cNvPr id="0" name=""/>
        <dsp:cNvSpPr/>
      </dsp:nvSpPr>
      <dsp:spPr>
        <a:xfrm>
          <a:off x="1935924" y="1578543"/>
          <a:ext cx="1863564" cy="212167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Pollution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Flow </a:t>
          </a: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regulation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935924" y="1578543"/>
        <a:ext cx="1863564" cy="2121670"/>
      </dsp:txXfrm>
    </dsp:sp>
    <dsp:sp modelId="{50C7D21E-F9D5-4C4D-A0B3-D49EE8F2F5E5}">
      <dsp:nvSpPr>
        <dsp:cNvPr id="0" name=""/>
        <dsp:cNvSpPr/>
      </dsp:nvSpPr>
      <dsp:spPr>
        <a:xfrm>
          <a:off x="3799489" y="1061164"/>
          <a:ext cx="4357750" cy="1177037"/>
        </a:xfrm>
        <a:prstGeom prst="rightArrow">
          <a:avLst>
            <a:gd name="adj1" fmla="val 5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685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Joint </a:t>
          </a: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modelling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99489" y="1355423"/>
        <a:ext cx="4063491" cy="588519"/>
      </dsp:txXfrm>
    </dsp:sp>
    <dsp:sp modelId="{A1799288-608D-4003-80F3-E3E11729C6BA}">
      <dsp:nvSpPr>
        <dsp:cNvPr id="0" name=""/>
        <dsp:cNvSpPr/>
      </dsp:nvSpPr>
      <dsp:spPr>
        <a:xfrm>
          <a:off x="3799489" y="1970750"/>
          <a:ext cx="1863564" cy="213585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scenarios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vulnerability</a:t>
          </a: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assessments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799489" y="1970750"/>
        <a:ext cx="1863564" cy="2135857"/>
      </dsp:txXfrm>
    </dsp:sp>
    <dsp:sp modelId="{0CC5318E-8CEC-4712-A7CC-6BAF36E9F762}">
      <dsp:nvSpPr>
        <dsp:cNvPr id="0" name=""/>
        <dsp:cNvSpPr/>
      </dsp:nvSpPr>
      <dsp:spPr>
        <a:xfrm>
          <a:off x="5663054" y="1453371"/>
          <a:ext cx="2494185" cy="1177037"/>
        </a:xfrm>
        <a:prstGeom prst="rightArrow">
          <a:avLst>
            <a:gd name="adj1" fmla="val 5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186855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Indirect </a:t>
          </a: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effects</a:t>
          </a: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 on waters 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63054" y="1747630"/>
        <a:ext cx="2199926" cy="588519"/>
      </dsp:txXfrm>
    </dsp:sp>
    <dsp:sp modelId="{A58DB9EF-D4E7-422B-83AE-38E386624E0F}">
      <dsp:nvSpPr>
        <dsp:cNvPr id="0" name=""/>
        <dsp:cNvSpPr/>
      </dsp:nvSpPr>
      <dsp:spPr>
        <a:xfrm>
          <a:off x="5663054" y="2362956"/>
          <a:ext cx="1880543" cy="216089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sectoral</a:t>
          </a: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fr-CH" sz="1800" kern="1200" dirty="0" err="1">
              <a:latin typeface="Arial" panose="020B0604020202020204" pitchFamily="34" charset="0"/>
              <a:cs typeface="Arial" panose="020B0604020202020204" pitchFamily="34" charset="0"/>
            </a:rPr>
            <a:t>policies</a:t>
          </a:r>
          <a:endParaRPr lang="fr-CH" sz="18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800" kern="1200" dirty="0">
              <a:latin typeface="Arial" panose="020B0604020202020204" pitchFamily="34" charset="0"/>
              <a:cs typeface="Arial" panose="020B0604020202020204" pitchFamily="34" charset="0"/>
            </a:rPr>
            <a:t>nexus</a:t>
          </a:r>
          <a:endParaRPr lang="en-GB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663054" y="2362956"/>
        <a:ext cx="1880543" cy="21608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962</cdr:x>
      <cdr:y>0.28105</cdr:y>
    </cdr:from>
    <cdr:to>
      <cdr:x>0.51256</cdr:x>
      <cdr:y>0.35632</cdr:y>
    </cdr:to>
    <cdr:sp macro="" textlink="">
      <cdr:nvSpPr>
        <cdr:cNvPr id="2" name="Text 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10503" y="821982"/>
          <a:ext cx="1975495" cy="22016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rot="0" vert="horz" wrap="square" lIns="91440" tIns="45720" rIns="91440" bIns="45720" anchor="t" anchorCtr="0"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algn="l">
            <a:lnSpc>
              <a:spcPct val="107000"/>
            </a:lnSpc>
            <a:spcBef>
              <a:spcPts val="0"/>
            </a:spcBef>
            <a:spcAft>
              <a:spcPts val="800"/>
            </a:spcAft>
          </a:pPr>
          <a:r>
            <a:rPr lang="en-GB" sz="1100" b="0" dirty="0">
              <a:ln>
                <a:noFill/>
              </a:ln>
              <a:solidFill>
                <a:schemeClr val="accent5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rPr>
            <a:t>Global 6.5.2 average</a:t>
          </a:r>
          <a:r>
            <a:rPr lang="en-GB" sz="1100" b="0" baseline="0" dirty="0">
              <a:ln>
                <a:noFill/>
              </a:ln>
              <a:solidFill>
                <a:schemeClr val="accent5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rPr>
            <a:t> 59 %</a:t>
          </a:r>
          <a:endParaRPr lang="en-US" sz="1100" b="0" dirty="0">
            <a:solidFill>
              <a:schemeClr val="accent5"/>
            </a:solidFill>
            <a:effectLst/>
            <a:latin typeface="Calibri" panose="020F050202020403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CC02A0-C947-4278-96D1-0DB9C063DF55}" type="datetimeFigureOut">
              <a:rPr lang="en-US" smtClean="0">
                <a:latin typeface="Arial"/>
              </a:rPr>
              <a:t>20-Sep-18</a:t>
            </a:fld>
            <a:endParaRPr lang="en-US" dirty="0"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3FAA7-9DA0-4163-8828-B20FAF1EB063}" type="slidenum">
              <a:rPr lang="en-US" smtClean="0">
                <a:latin typeface="Arial"/>
              </a:rPr>
              <a:t>‹#›</a:t>
            </a:fld>
            <a:endParaRPr lang="en-US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10626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17488" y="414338"/>
            <a:ext cx="3722687" cy="27924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7649" y="3391601"/>
            <a:ext cx="6042378" cy="57905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77649" y="9430307"/>
            <a:ext cx="4833902" cy="24644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15789" y="9430307"/>
            <a:ext cx="604238" cy="24644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latin typeface="Arial"/>
              </a:defRPr>
            </a:lvl1pPr>
          </a:lstStyle>
          <a:p>
            <a:fld id="{8547E1EE-0039-4797-B978-F453418260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6465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100" kern="1200">
        <a:solidFill>
          <a:schemeClr val="tx1"/>
        </a:solidFill>
        <a:latin typeface="Arial"/>
        <a:ea typeface="+mn-ea"/>
        <a:cs typeface="+mn-cs"/>
      </a:defRPr>
    </a:lvl1pPr>
    <a:lvl2pPr marL="182880" indent="-137160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1050" kern="1200">
        <a:solidFill>
          <a:schemeClr val="tx1"/>
        </a:solidFill>
        <a:latin typeface="Arial"/>
        <a:ea typeface="+mn-ea"/>
        <a:cs typeface="+mn-cs"/>
      </a:defRPr>
    </a:lvl2pPr>
    <a:lvl3pPr marL="339725" indent="-1047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1000" kern="1200">
        <a:solidFill>
          <a:schemeClr val="tx1"/>
        </a:solidFill>
        <a:latin typeface="Arial"/>
        <a:ea typeface="+mn-ea"/>
        <a:cs typeface="+mn-cs"/>
      </a:defRPr>
    </a:lvl3pPr>
    <a:lvl4pPr marL="515938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•"/>
      <a:defRPr sz="900" kern="1200">
        <a:solidFill>
          <a:schemeClr val="tx1"/>
        </a:solidFill>
        <a:latin typeface="Arial"/>
        <a:ea typeface="+mn-ea"/>
        <a:cs typeface="+mn-cs"/>
      </a:defRPr>
    </a:lvl4pPr>
    <a:lvl5pPr marL="633413" indent="-117475" algn="l" defTabSz="914400" rtl="0" eaLnBrk="1" latinLnBrk="0" hangingPunct="1">
      <a:spcBef>
        <a:spcPts val="600"/>
      </a:spcBef>
      <a:buFont typeface="HP Simplified" panose="020B0604020204020204" pitchFamily="34" charset="0"/>
      <a:buChar char="–"/>
      <a:defRPr sz="8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54050" y="463550"/>
            <a:ext cx="4165600" cy="31257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54229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963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CH" alt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4485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607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136DB4-22B5-4CB4-A5A4-AB522D0ACFFC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1959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ECDC2E-B70D-41FC-8290-FE8574667B2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63239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76561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4261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fr-CH" dirty="0">
              <a:solidFill>
                <a:schemeClr val="accent1">
                  <a:lumMod val="75000"/>
                </a:schemeClr>
              </a:solidFill>
              <a:latin typeface="Candara" panose="020E0502030303020204" pitchFamily="34" charset="0"/>
            </a:endParaRPr>
          </a:p>
          <a:p>
            <a:pPr marL="0" indent="0">
              <a:buNone/>
            </a:pPr>
            <a:endParaRPr lang="fr-CH" dirty="0">
              <a:solidFill>
                <a:schemeClr val="accent1">
                  <a:lumMod val="75000"/>
                </a:schemeClr>
              </a:solidFill>
              <a:latin typeface="Candara" panose="020E0502030303020204" pitchFamily="34" charset="0"/>
            </a:endParaRPr>
          </a:p>
          <a:p>
            <a:endParaRPr lang="en-US" dirty="0"/>
          </a:p>
          <a:p>
            <a:pPr marL="0" indent="0">
              <a:buNone/>
            </a:pPr>
            <a:endParaRPr lang="en-GB" dirty="0">
              <a:solidFill>
                <a:schemeClr val="accent1">
                  <a:lumMod val="75000"/>
                </a:schemeClr>
              </a:solidFill>
              <a:latin typeface="Candara" panose="020E0502030303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DBD7FC-D7BE-4EB6-95C3-59F4D29929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41143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8442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966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7EA60A-4E4B-4B1E-AD5B-CB0541F4C2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67055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653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7049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8757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084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414338"/>
            <a:ext cx="3722687" cy="2792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Clr>
                <a:schemeClr val="accent3"/>
              </a:buClr>
              <a:buFont typeface="+mj-lt"/>
              <a:buNone/>
            </a:pP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3696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414338"/>
            <a:ext cx="3722687" cy="27924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sz="1000" dirty="0"/>
          </a:p>
          <a:p>
            <a:pPr marL="0" indent="0">
              <a:buClr>
                <a:schemeClr val="accent3"/>
              </a:buClr>
              <a:buFont typeface="+mj-lt"/>
              <a:buNone/>
            </a:pP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chemeClr val="accent3"/>
              </a:buClr>
              <a:buFont typeface="+mj-lt"/>
              <a:buNone/>
            </a:pPr>
            <a:endParaRPr lang="en-GB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3696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065371-6483-45F3-86D5-CA729EF883CE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82591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065371-6483-45F3-86D5-CA729EF883CE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8721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36512" y="0"/>
            <a:ext cx="9180512" cy="6858000"/>
          </a:xfrm>
          <a:prstGeom prst="rect">
            <a:avLst/>
          </a:prstGeom>
          <a:solidFill>
            <a:schemeClr val="bg1">
              <a:alpha val="40000"/>
            </a:schemeClr>
          </a:solidFill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763520"/>
            <a:ext cx="6858000" cy="1554480"/>
          </a:xfrm>
        </p:spPr>
        <p:txBody>
          <a:bodyPr/>
          <a:lstStyle>
            <a:lvl1pPr>
              <a:defRPr sz="5000" spc="-1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419600"/>
            <a:ext cx="6858000" cy="1188720"/>
          </a:xfrm>
        </p:spPr>
        <p:txBody>
          <a:bodyPr>
            <a:noAutofit/>
          </a:bodyPr>
          <a:lstStyle>
            <a:lvl1pPr marL="0" indent="0" algn="l">
              <a:spcBef>
                <a:spcPts val="600"/>
              </a:spcBef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copyright"/>
          <p:cNvSpPr txBox="1"/>
          <p:nvPr userDrawn="1"/>
        </p:nvSpPr>
        <p:spPr>
          <a:xfrm>
            <a:off x="457200" y="6482536"/>
            <a:ext cx="2819400" cy="223064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>
                <a:solidFill>
                  <a:srgbClr val="FFFFFF"/>
                </a:solidFill>
                <a:latin typeface="Arial"/>
                <a:cs typeface="Arial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57717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295400"/>
            <a:ext cx="50292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760720" y="1295400"/>
            <a:ext cx="2926080" cy="48006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52440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295400"/>
            <a:ext cx="3986784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700016" y="1295400"/>
            <a:ext cx="3986784" cy="3505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953000"/>
            <a:ext cx="3986784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00016" y="4953000"/>
            <a:ext cx="3986784" cy="113049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2104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295400"/>
            <a:ext cx="256032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211392"/>
            <a:ext cx="256032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3291840" y="1295400"/>
            <a:ext cx="256032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idx="16"/>
          </p:nvPr>
        </p:nvSpPr>
        <p:spPr>
          <a:xfrm>
            <a:off x="6126480" y="1295400"/>
            <a:ext cx="2560320" cy="27432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3291840" y="4211392"/>
            <a:ext cx="256032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18"/>
          </p:nvPr>
        </p:nvSpPr>
        <p:spPr>
          <a:xfrm>
            <a:off x="6126480" y="4211392"/>
            <a:ext cx="2560320" cy="1884608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6117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8pPr>
              <a:defRPr/>
            </a:lvl8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 </a:t>
            </a:r>
          </a:p>
        </p:txBody>
      </p:sp>
    </p:spTree>
    <p:extLst>
      <p:ext uri="{BB962C8B-B14F-4D97-AF65-F5344CB8AC3E}">
        <p14:creationId xmlns:p14="http://schemas.microsoft.com/office/powerpoint/2010/main" val="270921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6858000" cy="1828800"/>
          </a:xfrm>
        </p:spPr>
        <p:txBody>
          <a:bodyPr anchor="t"/>
          <a:lstStyle>
            <a:lvl1pPr algn="l">
              <a:defRPr sz="3200" b="1" cap="none" spc="-1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4419600"/>
            <a:ext cx="6858000" cy="1188720"/>
          </a:xfrm>
        </p:spPr>
        <p:txBody>
          <a:bodyPr anchor="t">
            <a:noAutofit/>
          </a:bodyPr>
          <a:lstStyle>
            <a:lvl1pPr marL="0" indent="0">
              <a:spcBef>
                <a:spcPts val="600"/>
              </a:spcBef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9205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 </a:t>
            </a:r>
          </a:p>
        </p:txBody>
      </p:sp>
    </p:spTree>
    <p:extLst>
      <p:ext uri="{BB962C8B-B14F-4D97-AF65-F5344CB8AC3E}">
        <p14:creationId xmlns:p14="http://schemas.microsoft.com/office/powerpoint/2010/main" val="225010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33856"/>
            <a:ext cx="822960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399"/>
            <a:ext cx="8229600" cy="44196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5215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33856"/>
            <a:ext cx="8229600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rgbClr val="0A1F5A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4939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95401"/>
            <a:ext cx="3986784" cy="48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1200"/>
            </a:lvl5pPr>
            <a:lvl6pPr marL="914400" indent="0">
              <a:buNone/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016" y="1295401"/>
            <a:ext cx="3986784" cy="48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6956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33856"/>
            <a:ext cx="8229600" cy="26057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676399"/>
            <a:ext cx="3986784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57401"/>
            <a:ext cx="3986784" cy="4038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1676399"/>
            <a:ext cx="3986784" cy="27432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2057401"/>
            <a:ext cx="3986784" cy="4038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 l</a:t>
            </a:r>
          </a:p>
        </p:txBody>
      </p:sp>
    </p:spTree>
    <p:extLst>
      <p:ext uri="{BB962C8B-B14F-4D97-AF65-F5344CB8AC3E}">
        <p14:creationId xmlns:p14="http://schemas.microsoft.com/office/powerpoint/2010/main" val="112992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1"/>
            <a:ext cx="5715000" cy="48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200"/>
            </a:lvl4pPr>
            <a:lvl5pPr>
              <a:defRPr sz="1200"/>
            </a:lvl5pPr>
            <a:lvl6pPr marL="914400" indent="0">
              <a:buNone/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00800" y="1295400"/>
            <a:ext cx="228600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80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57200" y="1295400"/>
            <a:ext cx="5029200" cy="4800600"/>
          </a:xfrm>
        </p:spPr>
        <p:txBody>
          <a:bodyPr tIns="457200">
            <a:no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0720" y="1295400"/>
            <a:ext cx="2926080" cy="4800600"/>
          </a:xfrm>
        </p:spPr>
        <p:txBody>
          <a:bodyPr>
            <a:noAutofit/>
          </a:bodyPr>
          <a:lstStyle>
            <a:lvl1pPr marL="0" indent="0">
              <a:spcBef>
                <a:spcPts val="600"/>
              </a:spcBef>
              <a:buNone/>
              <a:defRPr sz="20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828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76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5401"/>
            <a:ext cx="82296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3" descr="Image result for unece logo">
            <a:extLst>
              <a:ext uri="{FF2B5EF4-FFF2-40B4-BE49-F238E27FC236}">
                <a16:creationId xmlns:a16="http://schemas.microsoft.com/office/drawing/2014/main" id="{7582CA96-C578-4A65-9B1E-779113C54F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49" b="23115"/>
          <a:stretch/>
        </p:blipFill>
        <p:spPr bwMode="auto">
          <a:xfrm>
            <a:off x="0" y="5970714"/>
            <a:ext cx="2623497" cy="887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F137929-FABE-4139-9C03-013DE6318ECC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6122125"/>
            <a:ext cx="2133334" cy="711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477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51" r:id="rId2"/>
    <p:sldLayoutId id="2147483650" r:id="rId3"/>
    <p:sldLayoutId id="2147483663" r:id="rId4"/>
    <p:sldLayoutId id="2147483665" r:id="rId5"/>
    <p:sldLayoutId id="2147483652" r:id="rId6"/>
    <p:sldLayoutId id="2147483666" r:id="rId7"/>
    <p:sldLayoutId id="2147483656" r:id="rId8"/>
    <p:sldLayoutId id="2147483657" r:id="rId9"/>
    <p:sldLayoutId id="2147483670" r:id="rId10"/>
    <p:sldLayoutId id="2147483671" r:id="rId11"/>
    <p:sldLayoutId id="2147483672" r:id="rId12"/>
    <p:sldLayoutId id="214748365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tx1"/>
        </a:buClr>
        <a:buFont typeface="HP Simplified" panose="020B0604020204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8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2000" kern="1200">
          <a:solidFill>
            <a:schemeClr val="tx1"/>
          </a:solidFill>
          <a:latin typeface="Arial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2000" kern="1200">
          <a:solidFill>
            <a:schemeClr val="tx1"/>
          </a:solidFill>
          <a:latin typeface="Arial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Arial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SzPct val="80000"/>
        <a:buFont typeface="HP Simplified" panose="020B0604020204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HP Simplified" panose="020B0604020204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117" Type="http://schemas.openxmlformats.org/officeDocument/2006/relationships/tags" Target="../tags/tag118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tags" Target="../tags/tag85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38" Type="http://schemas.openxmlformats.org/officeDocument/2006/relationships/tags" Target="../tags/tag139.xml"/><Relationship Id="rId154" Type="http://schemas.openxmlformats.org/officeDocument/2006/relationships/tags" Target="../tags/tag155.xml"/><Relationship Id="rId159" Type="http://schemas.openxmlformats.org/officeDocument/2006/relationships/tags" Target="../tags/tag160.xml"/><Relationship Id="rId175" Type="http://schemas.openxmlformats.org/officeDocument/2006/relationships/tags" Target="../tags/tag176.xml"/><Relationship Id="rId170" Type="http://schemas.openxmlformats.org/officeDocument/2006/relationships/tags" Target="../tags/tag171.xml"/><Relationship Id="rId16" Type="http://schemas.openxmlformats.org/officeDocument/2006/relationships/tags" Target="../tags/tag17.xml"/><Relationship Id="rId107" Type="http://schemas.openxmlformats.org/officeDocument/2006/relationships/tags" Target="../tags/tag108.xml"/><Relationship Id="rId11" Type="http://schemas.openxmlformats.org/officeDocument/2006/relationships/tags" Target="../tags/tag12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28" Type="http://schemas.openxmlformats.org/officeDocument/2006/relationships/tags" Target="../tags/tag129.xml"/><Relationship Id="rId144" Type="http://schemas.openxmlformats.org/officeDocument/2006/relationships/tags" Target="../tags/tag145.xml"/><Relationship Id="rId149" Type="http://schemas.openxmlformats.org/officeDocument/2006/relationships/tags" Target="../tags/tag150.xml"/><Relationship Id="rId5" Type="http://schemas.openxmlformats.org/officeDocument/2006/relationships/tags" Target="../tags/tag6.xml"/><Relationship Id="rId90" Type="http://schemas.openxmlformats.org/officeDocument/2006/relationships/tags" Target="../tags/tag91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165" Type="http://schemas.openxmlformats.org/officeDocument/2006/relationships/tags" Target="../tags/tag166.xml"/><Relationship Id="rId181" Type="http://schemas.openxmlformats.org/officeDocument/2006/relationships/tags" Target="../tags/tag182.xml"/><Relationship Id="rId186" Type="http://schemas.openxmlformats.org/officeDocument/2006/relationships/slideLayout" Target="../slideLayouts/slideLayout3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18" Type="http://schemas.openxmlformats.org/officeDocument/2006/relationships/tags" Target="../tags/tag119.xml"/><Relationship Id="rId134" Type="http://schemas.openxmlformats.org/officeDocument/2006/relationships/tags" Target="../tags/tag135.xml"/><Relationship Id="rId139" Type="http://schemas.openxmlformats.org/officeDocument/2006/relationships/tags" Target="../tags/tag140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55" Type="http://schemas.openxmlformats.org/officeDocument/2006/relationships/tags" Target="../tags/tag156.xml"/><Relationship Id="rId171" Type="http://schemas.openxmlformats.org/officeDocument/2006/relationships/tags" Target="../tags/tag172.xml"/><Relationship Id="rId176" Type="http://schemas.openxmlformats.org/officeDocument/2006/relationships/tags" Target="../tags/tag177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08" Type="http://schemas.openxmlformats.org/officeDocument/2006/relationships/tags" Target="../tags/tag109.xml"/><Relationship Id="rId124" Type="http://schemas.openxmlformats.org/officeDocument/2006/relationships/tags" Target="../tags/tag125.xml"/><Relationship Id="rId129" Type="http://schemas.openxmlformats.org/officeDocument/2006/relationships/tags" Target="../tags/tag130.xml"/><Relationship Id="rId54" Type="http://schemas.openxmlformats.org/officeDocument/2006/relationships/tags" Target="../tags/tag55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91" Type="http://schemas.openxmlformats.org/officeDocument/2006/relationships/tags" Target="../tags/tag92.xml"/><Relationship Id="rId96" Type="http://schemas.openxmlformats.org/officeDocument/2006/relationships/tags" Target="../tags/tag97.xml"/><Relationship Id="rId140" Type="http://schemas.openxmlformats.org/officeDocument/2006/relationships/tags" Target="../tags/tag141.xml"/><Relationship Id="rId145" Type="http://schemas.openxmlformats.org/officeDocument/2006/relationships/tags" Target="../tags/tag146.xml"/><Relationship Id="rId161" Type="http://schemas.openxmlformats.org/officeDocument/2006/relationships/tags" Target="../tags/tag162.xml"/><Relationship Id="rId166" Type="http://schemas.openxmlformats.org/officeDocument/2006/relationships/tags" Target="../tags/tag167.xml"/><Relationship Id="rId182" Type="http://schemas.openxmlformats.org/officeDocument/2006/relationships/tags" Target="../tags/tag183.xml"/><Relationship Id="rId187" Type="http://schemas.openxmlformats.org/officeDocument/2006/relationships/notesSlide" Target="../notesSlides/notesSlide5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119" Type="http://schemas.openxmlformats.org/officeDocument/2006/relationships/tags" Target="../tags/tag120.xml"/><Relationship Id="rId44" Type="http://schemas.openxmlformats.org/officeDocument/2006/relationships/tags" Target="../tags/tag45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130" Type="http://schemas.openxmlformats.org/officeDocument/2006/relationships/tags" Target="../tags/tag131.xml"/><Relationship Id="rId135" Type="http://schemas.openxmlformats.org/officeDocument/2006/relationships/tags" Target="../tags/tag136.xml"/><Relationship Id="rId151" Type="http://schemas.openxmlformats.org/officeDocument/2006/relationships/tags" Target="../tags/tag152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72" Type="http://schemas.openxmlformats.org/officeDocument/2006/relationships/tags" Target="../tags/tag173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tags" Target="../tags/tag11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120" Type="http://schemas.openxmlformats.org/officeDocument/2006/relationships/tags" Target="../tags/tag121.xml"/><Relationship Id="rId125" Type="http://schemas.openxmlformats.org/officeDocument/2006/relationships/tags" Target="../tags/tag126.xml"/><Relationship Id="rId141" Type="http://schemas.openxmlformats.org/officeDocument/2006/relationships/tags" Target="../tags/tag142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162" Type="http://schemas.openxmlformats.org/officeDocument/2006/relationships/tags" Target="../tags/tag163.xml"/><Relationship Id="rId183" Type="http://schemas.openxmlformats.org/officeDocument/2006/relationships/tags" Target="../tags/tag184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4" Type="http://schemas.openxmlformats.org/officeDocument/2006/relationships/tags" Target="../tags/tag25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66" Type="http://schemas.openxmlformats.org/officeDocument/2006/relationships/tags" Target="../tags/tag67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115" Type="http://schemas.openxmlformats.org/officeDocument/2006/relationships/tags" Target="../tags/tag116.xml"/><Relationship Id="rId131" Type="http://schemas.openxmlformats.org/officeDocument/2006/relationships/tags" Target="../tags/tag132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52" Type="http://schemas.openxmlformats.org/officeDocument/2006/relationships/tags" Target="../tags/tag153.xml"/><Relationship Id="rId173" Type="http://schemas.openxmlformats.org/officeDocument/2006/relationships/tags" Target="../tags/tag174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56" Type="http://schemas.openxmlformats.org/officeDocument/2006/relationships/tags" Target="../tags/tag57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42" Type="http://schemas.openxmlformats.org/officeDocument/2006/relationships/tags" Target="../tags/tag143.xml"/><Relationship Id="rId163" Type="http://schemas.openxmlformats.org/officeDocument/2006/relationships/tags" Target="../tags/tag164.xml"/><Relationship Id="rId184" Type="http://schemas.openxmlformats.org/officeDocument/2006/relationships/tags" Target="../tags/tag185.xml"/><Relationship Id="rId3" Type="http://schemas.openxmlformats.org/officeDocument/2006/relationships/tags" Target="../tags/tag4.xml"/><Relationship Id="rId25" Type="http://schemas.openxmlformats.org/officeDocument/2006/relationships/tags" Target="../tags/tag26.xml"/><Relationship Id="rId46" Type="http://schemas.openxmlformats.org/officeDocument/2006/relationships/tags" Target="../tags/tag47.xml"/><Relationship Id="rId67" Type="http://schemas.openxmlformats.org/officeDocument/2006/relationships/tags" Target="../tags/tag68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32" Type="http://schemas.openxmlformats.org/officeDocument/2006/relationships/tags" Target="../tags/tag133.xml"/><Relationship Id="rId153" Type="http://schemas.openxmlformats.org/officeDocument/2006/relationships/tags" Target="../tags/tag154.xml"/><Relationship Id="rId174" Type="http://schemas.openxmlformats.org/officeDocument/2006/relationships/tags" Target="../tags/tag175.xml"/><Relationship Id="rId179" Type="http://schemas.openxmlformats.org/officeDocument/2006/relationships/tags" Target="../tags/tag180.xml"/><Relationship Id="rId15" Type="http://schemas.openxmlformats.org/officeDocument/2006/relationships/tags" Target="../tags/tag16.xml"/><Relationship Id="rId36" Type="http://schemas.openxmlformats.org/officeDocument/2006/relationships/tags" Target="../tags/tag37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122" Type="http://schemas.openxmlformats.org/officeDocument/2006/relationships/tags" Target="../tags/tag123.xml"/><Relationship Id="rId143" Type="http://schemas.openxmlformats.org/officeDocument/2006/relationships/tags" Target="../tags/tag144.xml"/><Relationship Id="rId148" Type="http://schemas.openxmlformats.org/officeDocument/2006/relationships/tags" Target="../tags/tag149.xml"/><Relationship Id="rId164" Type="http://schemas.openxmlformats.org/officeDocument/2006/relationships/tags" Target="../tags/tag165.xml"/><Relationship Id="rId169" Type="http://schemas.openxmlformats.org/officeDocument/2006/relationships/tags" Target="../tags/tag170.xml"/><Relationship Id="rId185" Type="http://schemas.openxmlformats.org/officeDocument/2006/relationships/tags" Target="../tags/tag18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80" Type="http://schemas.openxmlformats.org/officeDocument/2006/relationships/tags" Target="../tags/tag18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2E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jdelijke aanduiding voor inhoud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68" r="8729" b="14285"/>
          <a:stretch/>
        </p:blipFill>
        <p:spPr>
          <a:xfrm>
            <a:off x="0" y="0"/>
            <a:ext cx="9144000" cy="30689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reflection blurRad="6350" stA="50000" endA="300" endPos="40000" dist="50800" dir="5400000" sy="-100000" algn="bl" rotWithShape="0"/>
          </a:effec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0303" y="4509120"/>
            <a:ext cx="8803393" cy="841959"/>
          </a:xfrm>
        </p:spPr>
        <p:txBody>
          <a:bodyPr/>
          <a:lstStyle/>
          <a:p>
            <a:r>
              <a:rPr lang="en-GB" sz="2401" dirty="0"/>
              <a:t>The Water Convention </a:t>
            </a:r>
            <a:br>
              <a:rPr lang="en-GB" sz="2401" dirty="0"/>
            </a:br>
            <a:r>
              <a:rPr lang="en-GB" sz="2401" dirty="0"/>
              <a:t>	</a:t>
            </a:r>
            <a:r>
              <a:rPr lang="en-US" sz="2401" dirty="0"/>
              <a:t>Obligations on information sharing and monitoring and </a:t>
            </a:r>
            <a:br>
              <a:rPr lang="en-US" sz="2401" dirty="0"/>
            </a:br>
            <a:r>
              <a:rPr lang="en-US" sz="2401" dirty="0"/>
              <a:t>	Monitoring the implementation of transboundary 	cooperation under SDG6 </a:t>
            </a:r>
            <a:endParaRPr lang="en-US" sz="330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3167" y="5515694"/>
            <a:ext cx="5238313" cy="985742"/>
          </a:xfrm>
        </p:spPr>
        <p:txBody>
          <a:bodyPr/>
          <a:lstStyle/>
          <a:p>
            <a:endParaRPr lang="en-US" sz="1350" b="1" dirty="0"/>
          </a:p>
          <a:p>
            <a:r>
              <a:rPr lang="en-US" sz="1350" b="1" dirty="0"/>
              <a:t>Francesca Bernardini</a:t>
            </a:r>
          </a:p>
          <a:p>
            <a:r>
              <a:rPr lang="en-US" sz="1350" b="1" dirty="0"/>
              <a:t>Secretary, UNECE Water Convention</a:t>
            </a:r>
          </a:p>
          <a:p>
            <a:endParaRPr lang="fr-CH" sz="1350" b="1" dirty="0"/>
          </a:p>
          <a:p>
            <a:r>
              <a:rPr lang="fr-CH" sz="1350" b="1" dirty="0"/>
              <a:t>20 </a:t>
            </a:r>
            <a:r>
              <a:rPr lang="en-US" sz="1350" b="1" dirty="0"/>
              <a:t>September</a:t>
            </a:r>
            <a:r>
              <a:rPr lang="fr-CH" sz="1350" b="1" dirty="0"/>
              <a:t> 2018</a:t>
            </a:r>
            <a:endParaRPr lang="en-US" sz="1350" b="1" dirty="0"/>
          </a:p>
          <a:p>
            <a:endParaRPr lang="en-US" sz="1800" b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E2368A-F044-4520-B4FF-28F3B57294B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5805264"/>
            <a:ext cx="2590805" cy="795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90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>
                <a:solidFill>
                  <a:srgbClr val="7030A0"/>
                </a:solidFill>
              </a:rPr>
              <a:t>Monitoring Cycle</a:t>
            </a:r>
          </a:p>
        </p:txBody>
      </p:sp>
      <p:pic>
        <p:nvPicPr>
          <p:cNvPr id="6553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637209" y="1295400"/>
            <a:ext cx="7869582" cy="4800600"/>
          </a:xfrm>
        </p:spPr>
      </p:pic>
      <p:sp>
        <p:nvSpPr>
          <p:cNvPr id="3" name="TextBox 2"/>
          <p:cNvSpPr txBox="1"/>
          <p:nvPr/>
        </p:nvSpPr>
        <p:spPr>
          <a:xfrm>
            <a:off x="169131" y="6216948"/>
            <a:ext cx="879535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needs evolve as water management develops, targets are met or policies change</a:t>
            </a:r>
          </a:p>
          <a:p>
            <a:endParaRPr lang="en-GB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87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>
                <a:solidFill>
                  <a:srgbClr val="7030A0"/>
                </a:solidFill>
              </a:rPr>
              <a:t>Gradual</a:t>
            </a:r>
            <a:r>
              <a:rPr lang="fr-CH" dirty="0">
                <a:solidFill>
                  <a:srgbClr val="7030A0"/>
                </a:solidFill>
              </a:rPr>
              <a:t> </a:t>
            </a:r>
            <a:r>
              <a:rPr lang="fr-CH" dirty="0" err="1">
                <a:solidFill>
                  <a:srgbClr val="7030A0"/>
                </a:solidFill>
              </a:rPr>
              <a:t>evolution</a:t>
            </a:r>
            <a:r>
              <a:rPr lang="fr-CH" dirty="0">
                <a:solidFill>
                  <a:srgbClr val="7030A0"/>
                </a:solidFill>
              </a:rPr>
              <a:t> of data and information in transboundary </a:t>
            </a:r>
            <a:r>
              <a:rPr lang="fr-CH" dirty="0" err="1">
                <a:solidFill>
                  <a:srgbClr val="7030A0"/>
                </a:solidFill>
              </a:rPr>
              <a:t>cooperation</a:t>
            </a:r>
            <a:endParaRPr lang="en-GB" dirty="0">
              <a:solidFill>
                <a:srgbClr val="7030A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4131435"/>
              </p:ext>
            </p:extLst>
          </p:nvPr>
        </p:nvGraphicFramePr>
        <p:xfrm>
          <a:off x="457200" y="1295400"/>
          <a:ext cx="8229600" cy="48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729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14" y="123612"/>
            <a:ext cx="8229600" cy="762000"/>
          </a:xfrm>
        </p:spPr>
        <p:txBody>
          <a:bodyPr/>
          <a:lstStyle/>
          <a:p>
            <a:r>
              <a:rPr lang="fr-CH" dirty="0">
                <a:solidFill>
                  <a:srgbClr val="7030A0"/>
                </a:solidFill>
              </a:rPr>
              <a:t>Guidelines and guidance documents</a:t>
            </a:r>
            <a:endParaRPr lang="en-GB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6059016" cy="5445967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10000"/>
              </a:lnSpc>
            </a:pPr>
            <a:r>
              <a:rPr lang="en-GB" dirty="0"/>
              <a:t>Guidelines on water-quality monitoring and assessment of transboundary rivers (1996)</a:t>
            </a:r>
          </a:p>
          <a:p>
            <a:pPr>
              <a:lnSpc>
                <a:spcPct val="110000"/>
              </a:lnSpc>
            </a:pPr>
            <a:r>
              <a:rPr lang="en-GB" dirty="0"/>
              <a:t>Guidelines on Monitoring and Assessment of Transboundary Groundwater (2000) </a:t>
            </a:r>
          </a:p>
          <a:p>
            <a:pPr>
              <a:lnSpc>
                <a:spcPct val="110000"/>
              </a:lnSpc>
            </a:pPr>
            <a:r>
              <a:rPr lang="en-GB" dirty="0"/>
              <a:t>Monitoring and Assessment: Transboundary river guidelines (2001)</a:t>
            </a:r>
          </a:p>
          <a:p>
            <a:pPr>
              <a:lnSpc>
                <a:spcPct val="110000"/>
              </a:lnSpc>
            </a:pPr>
            <a:r>
              <a:rPr lang="en-GB" dirty="0"/>
              <a:t>Guidelines on Monitoring and Assessment of Transboundary and International Lakes: (2002)</a:t>
            </a:r>
          </a:p>
          <a:p>
            <a:pPr>
              <a:lnSpc>
                <a:spcPct val="110000"/>
              </a:lnSpc>
            </a:pPr>
            <a:r>
              <a:rPr lang="en-GB" dirty="0"/>
              <a:t>Strategies for monitoring and assessment of transboundary rivers, lakes and </a:t>
            </a:r>
            <a:r>
              <a:rPr lang="en-GB" dirty="0" err="1"/>
              <a:t>groundwaters</a:t>
            </a:r>
            <a:r>
              <a:rPr lang="en-GB" dirty="0"/>
              <a:t> (2006)</a:t>
            </a:r>
          </a:p>
          <a:p>
            <a:pPr>
              <a:lnSpc>
                <a:spcPct val="110000"/>
              </a:lnSpc>
            </a:pPr>
            <a:r>
              <a:rPr lang="fr-CH" dirty="0"/>
              <a:t>Guidance on Water and </a:t>
            </a:r>
            <a:r>
              <a:rPr lang="fr-CH" dirty="0" err="1"/>
              <a:t>Climate</a:t>
            </a:r>
            <a:r>
              <a:rPr lang="fr-CH" dirty="0"/>
              <a:t> (2009)</a:t>
            </a:r>
          </a:p>
          <a:p>
            <a:pPr>
              <a:lnSpc>
                <a:spcPct val="110000"/>
              </a:lnSpc>
            </a:pPr>
            <a:r>
              <a:rPr lang="fr-CH" dirty="0"/>
              <a:t>Policy guidance on </a:t>
            </a:r>
            <a:r>
              <a:rPr lang="fr-CH" dirty="0" err="1"/>
              <a:t>benefits</a:t>
            </a:r>
            <a:r>
              <a:rPr lang="fr-CH" dirty="0"/>
              <a:t> of </a:t>
            </a:r>
            <a:r>
              <a:rPr lang="fr-CH" dirty="0" err="1"/>
              <a:t>transboundary</a:t>
            </a:r>
            <a:r>
              <a:rPr lang="fr-CH" dirty="0"/>
              <a:t> </a:t>
            </a:r>
            <a:r>
              <a:rPr lang="fr-CH" dirty="0" err="1"/>
              <a:t>cooperation</a:t>
            </a:r>
            <a:r>
              <a:rPr lang="fr-CH" dirty="0"/>
              <a:t> (2015)</a:t>
            </a:r>
          </a:p>
          <a:p>
            <a:pPr>
              <a:lnSpc>
                <a:spcPct val="110000"/>
              </a:lnSpc>
            </a:pPr>
            <a:r>
              <a:rPr lang="fr-CH" dirty="0" err="1"/>
              <a:t>Methology</a:t>
            </a:r>
            <a:r>
              <a:rPr lang="fr-CH" dirty="0"/>
              <a:t> for </a:t>
            </a:r>
            <a:r>
              <a:rPr lang="fr-CH" dirty="0" err="1"/>
              <a:t>assessing</a:t>
            </a:r>
            <a:r>
              <a:rPr lang="fr-CH" dirty="0"/>
              <a:t> the water-</a:t>
            </a:r>
            <a:r>
              <a:rPr lang="fr-CH" dirty="0" err="1"/>
              <a:t>food</a:t>
            </a:r>
            <a:r>
              <a:rPr lang="fr-CH" dirty="0"/>
              <a:t>-</a:t>
            </a:r>
            <a:r>
              <a:rPr lang="fr-CH" dirty="0" err="1"/>
              <a:t>energy-ecosystems</a:t>
            </a:r>
            <a:r>
              <a:rPr lang="fr-CH" dirty="0"/>
              <a:t> nexus in </a:t>
            </a:r>
            <a:r>
              <a:rPr lang="fr-CH" dirty="0" err="1"/>
              <a:t>transboundary</a:t>
            </a:r>
            <a:r>
              <a:rPr lang="fr-CH" dirty="0"/>
              <a:t> basins (2015)</a:t>
            </a:r>
          </a:p>
          <a:p>
            <a:endParaRPr lang="fr-CH" dirty="0"/>
          </a:p>
          <a:p>
            <a:endParaRPr lang="fr-CH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4" name="Picture 9" descr="Strategies4monitoring200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479" y="1224528"/>
            <a:ext cx="2079884" cy="2420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cc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2890854"/>
            <a:ext cx="1733310" cy="2122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4509120"/>
            <a:ext cx="1661942" cy="234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90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rgbClr val="7030A0"/>
                </a:solidFill>
              </a:rPr>
              <a:t>Measuring transboundary water cooperation</a:t>
            </a:r>
            <a:br>
              <a:rPr lang="en-GB" dirty="0">
                <a:solidFill>
                  <a:srgbClr val="7030A0"/>
                </a:solidFill>
              </a:rPr>
            </a:br>
            <a:r>
              <a:rPr lang="en-GB" dirty="0">
                <a:solidFill>
                  <a:srgbClr val="7030A0"/>
                </a:solidFill>
              </a:rPr>
              <a:t>SDG indicator 6.5.2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936169"/>
            <a:ext cx="8435280" cy="3240360"/>
          </a:xfrm>
        </p:spPr>
        <p:txBody>
          <a:bodyPr>
            <a:normAutofit fontScale="92500" lnSpcReduction="20000"/>
          </a:bodyPr>
          <a:lstStyle/>
          <a:p>
            <a:r>
              <a:rPr lang="fr-CH" sz="2200" b="1" dirty="0" err="1"/>
              <a:t>Complements</a:t>
            </a:r>
            <a:r>
              <a:rPr lang="fr-CH" sz="2200" b="1" dirty="0"/>
              <a:t> </a:t>
            </a:r>
            <a:r>
              <a:rPr lang="fr-CH" sz="2200" b="1" dirty="0" err="1"/>
              <a:t>indicator</a:t>
            </a:r>
            <a:r>
              <a:rPr lang="fr-CH" sz="2200" b="1" dirty="0"/>
              <a:t> 6.5.1 </a:t>
            </a:r>
            <a:r>
              <a:rPr lang="en-GB" sz="2100" dirty="0"/>
              <a:t>which measures the advancement of Integrated Water Resources Management (IWRM)</a:t>
            </a:r>
          </a:p>
          <a:p>
            <a:r>
              <a:rPr lang="fr-CH" sz="2200" b="1" dirty="0" err="1"/>
              <a:t>Custodian</a:t>
            </a:r>
            <a:r>
              <a:rPr lang="fr-CH" sz="2200" b="1" dirty="0"/>
              <a:t> </a:t>
            </a:r>
            <a:r>
              <a:rPr lang="fr-CH" sz="2200" b="1" dirty="0" err="1"/>
              <a:t>agencies</a:t>
            </a:r>
            <a:r>
              <a:rPr lang="fr-CH" sz="2200" b="1" dirty="0"/>
              <a:t>: </a:t>
            </a:r>
            <a:r>
              <a:rPr lang="fr-CH" sz="2100" dirty="0"/>
              <a:t>UNECE and UNESCO</a:t>
            </a:r>
          </a:p>
          <a:p>
            <a:r>
              <a:rPr lang="en-US" sz="2200" b="1" dirty="0"/>
              <a:t>Tier II</a:t>
            </a:r>
            <a:r>
              <a:rPr lang="en-US" sz="2200" dirty="0"/>
              <a:t> indicator: </a:t>
            </a:r>
            <a:r>
              <a:rPr lang="en-US" sz="2100" dirty="0"/>
              <a:t>reviewed at 5th IAEG-SDG meeting in 2017</a:t>
            </a:r>
          </a:p>
          <a:p>
            <a:r>
              <a:rPr lang="en-US" sz="2200" b="1" dirty="0"/>
              <a:t>Operational arrangement</a:t>
            </a:r>
            <a:endParaRPr lang="en-US" sz="2200" dirty="0"/>
          </a:p>
          <a:p>
            <a:pPr lvl="1"/>
            <a:r>
              <a:rPr lang="en-US" dirty="0"/>
              <a:t>Treaty, convention, agreement or other formal arrangement</a:t>
            </a:r>
          </a:p>
          <a:p>
            <a:pPr lvl="1"/>
            <a:r>
              <a:rPr lang="en-US" dirty="0"/>
              <a:t>Joint body for transboundary water cooperation </a:t>
            </a:r>
          </a:p>
          <a:p>
            <a:pPr lvl="1"/>
            <a:r>
              <a:rPr lang="en-US" dirty="0"/>
              <a:t>Annual meetings</a:t>
            </a:r>
          </a:p>
          <a:p>
            <a:pPr lvl="1"/>
            <a:r>
              <a:rPr lang="en-US" dirty="0"/>
              <a:t>Annual exchange of data and information</a:t>
            </a:r>
          </a:p>
          <a:p>
            <a:pPr lvl="1"/>
            <a:r>
              <a:rPr lang="en-US" dirty="0"/>
              <a:t>Adoption of joint/</a:t>
            </a:r>
            <a:r>
              <a:rPr lang="en-US" dirty="0" err="1"/>
              <a:t>co-ordinated</a:t>
            </a:r>
            <a:r>
              <a:rPr lang="en-US" dirty="0"/>
              <a:t> water management plan, or joint objectives</a:t>
            </a:r>
          </a:p>
          <a:p>
            <a:endParaRPr lang="en-GB" sz="2000" dirty="0"/>
          </a:p>
          <a:p>
            <a:endParaRPr lang="es-ES" sz="2000" dirty="0"/>
          </a:p>
          <a:p>
            <a:endParaRPr lang="en-US" sz="2000" dirty="0">
              <a:latin typeface="Arial"/>
              <a:cs typeface="Arial"/>
            </a:endParaRPr>
          </a:p>
        </p:txBody>
      </p:sp>
      <p:pic>
        <p:nvPicPr>
          <p:cNvPr id="4" name="Image 6">
            <a:extLst>
              <a:ext uri="{FF2B5EF4-FFF2-40B4-BE49-F238E27FC236}">
                <a16:creationId xmlns:a16="http://schemas.microsoft.com/office/drawing/2014/main" id="{CE892296-CC26-40ED-8405-D93AC37A0B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434679"/>
            <a:ext cx="1104900" cy="1104900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D4008DD-10F9-40AB-8400-4197043CB273}"/>
              </a:ext>
            </a:extLst>
          </p:cNvPr>
          <p:cNvSpPr txBox="1">
            <a:spLocks/>
          </p:cNvSpPr>
          <p:nvPr/>
        </p:nvSpPr>
        <p:spPr>
          <a:xfrm>
            <a:off x="1403648" y="1264221"/>
            <a:ext cx="7488832" cy="18047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cs typeface="Arial"/>
              </a:rPr>
              <a:t>Target 6.5: </a:t>
            </a:r>
            <a:r>
              <a:rPr lang="en-US" dirty="0"/>
              <a:t>By 2030, implement integrated water resources management at all levels, </a:t>
            </a:r>
            <a:r>
              <a:rPr lang="en-US" b="1" dirty="0"/>
              <a:t>including through transboundary cooperation as appropriate</a:t>
            </a:r>
            <a:r>
              <a:rPr lang="en-US" dirty="0"/>
              <a:t>. </a:t>
            </a:r>
          </a:p>
          <a:p>
            <a:r>
              <a:rPr lang="en-US" b="1" dirty="0">
                <a:solidFill>
                  <a:schemeClr val="accent1"/>
                </a:solidFill>
                <a:cs typeface="Arial"/>
              </a:rPr>
              <a:t>Indicator 6.5.2: </a:t>
            </a:r>
            <a:r>
              <a:rPr lang="en-GB" dirty="0"/>
              <a:t>Proportion of transboundary basin area with an operational arrangement for water cooperation.</a:t>
            </a:r>
          </a:p>
        </p:txBody>
      </p:sp>
    </p:spTree>
    <p:extLst>
      <p:ext uri="{BB962C8B-B14F-4D97-AF65-F5344CB8AC3E}">
        <p14:creationId xmlns:p14="http://schemas.microsoft.com/office/powerpoint/2010/main" val="2892481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DA836349-55AA-4C3A-9510-507425234BF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2950665"/>
              </p:ext>
            </p:extLst>
          </p:nvPr>
        </p:nvGraphicFramePr>
        <p:xfrm>
          <a:off x="4615235" y="4585893"/>
          <a:ext cx="4523683" cy="21781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1" name="Groupe 1"/>
          <p:cNvGrpSpPr>
            <a:grpSpLocks noChangeAspect="1"/>
          </p:cNvGrpSpPr>
          <p:nvPr/>
        </p:nvGrpSpPr>
        <p:grpSpPr>
          <a:xfrm>
            <a:off x="4283968" y="1352449"/>
            <a:ext cx="5409550" cy="3045813"/>
            <a:chOff x="-11703" y="-451466"/>
            <a:chExt cx="8876612" cy="4998066"/>
          </a:xfrm>
        </p:grpSpPr>
        <p:pic>
          <p:nvPicPr>
            <p:cNvPr id="12" name="Image 1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1" t="5105" r="3876" b="28801"/>
            <a:stretch/>
          </p:blipFill>
          <p:spPr>
            <a:xfrm>
              <a:off x="-11703" y="-451466"/>
              <a:ext cx="8876612" cy="4569402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3" name="Image 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453" t="77642" r="47970" b="1574"/>
            <a:stretch/>
          </p:blipFill>
          <p:spPr>
            <a:xfrm>
              <a:off x="0" y="2476500"/>
              <a:ext cx="1778000" cy="1270000"/>
            </a:xfrm>
            <a:prstGeom prst="rect">
              <a:avLst/>
            </a:prstGeom>
          </p:spPr>
        </p:pic>
        <p:pic>
          <p:nvPicPr>
            <p:cNvPr id="14" name="Image 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969" t="78473" r="19456" b="12797"/>
            <a:stretch/>
          </p:blipFill>
          <p:spPr>
            <a:xfrm>
              <a:off x="12700" y="4013200"/>
              <a:ext cx="2209800" cy="533400"/>
            </a:xfrm>
            <a:prstGeom prst="rect">
              <a:avLst/>
            </a:prstGeom>
          </p:spPr>
        </p:pic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11CCF2FE-66C4-4504-83B0-B0647B4566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000" y="57144"/>
            <a:ext cx="7875400" cy="762000"/>
          </a:xfrm>
        </p:spPr>
        <p:txBody>
          <a:bodyPr>
            <a:normAutofit/>
          </a:bodyPr>
          <a:lstStyle/>
          <a:p>
            <a:r>
              <a:rPr lang="en-US" sz="27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results of the first reporting on SDG 6.5.2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C4B21D7-3354-4C25-AA3F-21CFA7BB2A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124744"/>
            <a:ext cx="4219699" cy="5639345"/>
          </a:xfrm>
        </p:spPr>
        <p:txBody>
          <a:bodyPr>
            <a:normAutofit fontScale="85000" lnSpcReduction="10000"/>
          </a:bodyPr>
          <a:lstStyle/>
          <a:p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7 country response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y March 2018 (out of 153 countries sharing transboundary waters)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Indicator 6.5.2 available for 62 countries (transboundary river &amp; lake basins and aquifers)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87 countries provided accurate data for transboundary river &amp; lake basins, and</a:t>
            </a:r>
          </a:p>
          <a:p>
            <a:pPr lvl="1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64 countries for transboundary aquifers</a:t>
            </a:r>
          </a:p>
          <a:p>
            <a:pPr lvl="1"/>
            <a:r>
              <a:rPr lang="fr-CH" sz="1800" b="1" dirty="0">
                <a:latin typeface="Arial" panose="020B0604020202020204" pitchFamily="34" charset="0"/>
                <a:cs typeface="Arial" panose="020B0604020202020204" pitchFamily="34" charset="0"/>
              </a:rPr>
              <a:t>38 out of 40 Parties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under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the Water Convention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CH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59%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= average of the national percentage of transboundary basins covered by an operational arrangement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7 countries with all transboundary basins covered by operational arrangements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ignificant effort needed to ensure that operational arrangements cover all transboundary waters, especially aquifers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1C4BA8B7-1354-4DD6-BCF2-67AAA0F06D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1113" y="35546"/>
            <a:ext cx="1172887" cy="1186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70908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08270"/>
            <a:ext cx="8229600" cy="762000"/>
          </a:xfrm>
        </p:spPr>
        <p:txBody>
          <a:bodyPr/>
          <a:lstStyle/>
          <a:p>
            <a:r>
              <a:rPr lang="en-US" dirty="0">
                <a:solidFill>
                  <a:srgbClr val="7030A0"/>
                </a:solidFill>
              </a:rPr>
              <a:t>Reporting under the Water Convention </a:t>
            </a:r>
            <a:endParaRPr lang="en-GB" dirty="0">
              <a:solidFill>
                <a:srgbClr val="7030A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1"/>
            <a:ext cx="8229600" cy="4800600"/>
          </a:xfrm>
        </p:spPr>
        <p:txBody>
          <a:bodyPr>
            <a:normAutofit fontScale="92500" lnSpcReduction="20000"/>
          </a:bodyPr>
          <a:lstStyle/>
          <a:p>
            <a:r>
              <a:rPr lang="fr-CH" dirty="0" err="1"/>
              <a:t>Introduced</a:t>
            </a:r>
            <a:r>
              <a:rPr lang="fr-CH" dirty="0"/>
              <a:t> in 2015 by </a:t>
            </a:r>
            <a:r>
              <a:rPr lang="fr-CH" dirty="0" err="1"/>
              <a:t>Decision</a:t>
            </a:r>
            <a:r>
              <a:rPr lang="fr-CH" dirty="0"/>
              <a:t> VII/2 </a:t>
            </a:r>
            <a:r>
              <a:rPr lang="en-US" dirty="0"/>
              <a:t>reporting at last Meeting of Parties</a:t>
            </a:r>
          </a:p>
          <a:p>
            <a:pPr lvl="1">
              <a:buFont typeface="Symbol" panose="05050102010706020507" pitchFamily="18" charset="2"/>
              <a:buChar char="Þ"/>
            </a:pPr>
            <a:r>
              <a:rPr lang="en-US" dirty="0"/>
              <a:t>Establish regular reporting mechanism under the Water Convention </a:t>
            </a:r>
          </a:p>
          <a:p>
            <a:r>
              <a:rPr lang="en-US" dirty="0"/>
              <a:t>2017 first pilot reporting exercise cycle. Lead in parallel with the reporting process on SDG indicator 6.5.2</a:t>
            </a:r>
          </a:p>
          <a:p>
            <a:r>
              <a:rPr lang="en-US" dirty="0"/>
              <a:t>Template developed to assess:</a:t>
            </a:r>
          </a:p>
          <a:p>
            <a:pPr lvl="1"/>
            <a:r>
              <a:rPr lang="en-US" sz="1900" dirty="0"/>
              <a:t>National law and </a:t>
            </a:r>
            <a:br>
              <a:rPr lang="en-US" sz="1900" dirty="0"/>
            </a:br>
            <a:r>
              <a:rPr lang="en-US" sz="1900" dirty="0"/>
              <a:t>policy framework </a:t>
            </a:r>
          </a:p>
          <a:p>
            <a:pPr lvl="1"/>
            <a:r>
              <a:rPr lang="en-US" sz="1900" dirty="0"/>
              <a:t>Arrangements at </a:t>
            </a:r>
            <a:br>
              <a:rPr lang="en-US" sz="1900" dirty="0"/>
            </a:br>
            <a:r>
              <a:rPr lang="en-US" sz="1900" dirty="0"/>
              <a:t>basin level and </a:t>
            </a:r>
            <a:br>
              <a:rPr lang="en-US" sz="1900" dirty="0"/>
            </a:br>
            <a:r>
              <a:rPr lang="en-US" sz="1900" dirty="0"/>
              <a:t>their implementation</a:t>
            </a:r>
          </a:p>
          <a:p>
            <a:pPr lvl="1"/>
            <a:r>
              <a:rPr lang="en-US" sz="1900" dirty="0"/>
              <a:t>Challenges and </a:t>
            </a:r>
            <a:br>
              <a:rPr lang="en-US" sz="1900" dirty="0"/>
            </a:br>
            <a:r>
              <a:rPr lang="en-US" sz="1900" dirty="0"/>
              <a:t>achievements in </a:t>
            </a:r>
            <a:br>
              <a:rPr lang="en-US" sz="1900" dirty="0"/>
            </a:br>
            <a:r>
              <a:rPr lang="en-US" sz="1900" dirty="0"/>
              <a:t>transboundary water </a:t>
            </a:r>
            <a:br>
              <a:rPr lang="en-US" sz="1900" dirty="0"/>
            </a:br>
            <a:r>
              <a:rPr lang="en-US" sz="1900" dirty="0"/>
              <a:t>cooperation</a:t>
            </a:r>
          </a:p>
          <a:p>
            <a:r>
              <a:rPr lang="en-US" dirty="0"/>
              <a:t>38 out of 40 </a:t>
            </a:r>
            <a:br>
              <a:rPr lang="en-US" dirty="0"/>
            </a:br>
            <a:r>
              <a:rPr lang="en-US" dirty="0"/>
              <a:t>Parties reported under </a:t>
            </a:r>
            <a:br>
              <a:rPr lang="en-US" dirty="0"/>
            </a:br>
            <a:r>
              <a:rPr lang="en-US" dirty="0"/>
              <a:t>the Water Convention</a:t>
            </a:r>
          </a:p>
          <a:p>
            <a:r>
              <a:rPr lang="fr-CH" dirty="0"/>
              <a:t>High </a:t>
            </a:r>
            <a:r>
              <a:rPr lang="fr-CH" dirty="0" err="1"/>
              <a:t>level</a:t>
            </a:r>
            <a:r>
              <a:rPr lang="fr-CH" dirty="0"/>
              <a:t> of </a:t>
            </a:r>
            <a:r>
              <a:rPr lang="fr-CH" dirty="0" err="1"/>
              <a:t>responses</a:t>
            </a:r>
            <a:r>
              <a:rPr lang="fr-CH" dirty="0"/>
              <a:t>: 95%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2708920"/>
            <a:ext cx="5934903" cy="2724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97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0616" y="380999"/>
            <a:ext cx="8229600" cy="762000"/>
          </a:xfrm>
        </p:spPr>
        <p:txBody>
          <a:bodyPr>
            <a:noAutofit/>
          </a:bodyPr>
          <a:lstStyle/>
          <a:p>
            <a:r>
              <a:rPr lang="en-US" sz="2800" dirty="0">
                <a:solidFill>
                  <a:srgbClr val="7030A0"/>
                </a:solidFill>
              </a:rPr>
              <a:t>Initial results of the first reporting under the Water Convention: </a:t>
            </a:r>
            <a:br>
              <a:rPr lang="en-US" sz="2800" dirty="0">
                <a:solidFill>
                  <a:srgbClr val="7030A0"/>
                </a:solidFill>
              </a:rPr>
            </a:br>
            <a:r>
              <a:rPr lang="en-US" sz="2800" dirty="0">
                <a:solidFill>
                  <a:srgbClr val="7030A0"/>
                </a:solidFill>
              </a:rPr>
              <a:t>Data and information exchange (Art. 6 &amp; 13)</a:t>
            </a:r>
            <a:endParaRPr lang="en-GB" sz="2800" dirty="0">
              <a:solidFill>
                <a:srgbClr val="7030A0"/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95400"/>
            <a:ext cx="3754760" cy="5085928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/>
              <a:t>Data and information exchange takes place in nearly all the reported transboundary waters</a:t>
            </a:r>
            <a:r>
              <a:rPr lang="en-US" dirty="0"/>
              <a:t>, although there are at least 7 river and lake basins where it does not appear to take place at basin level.</a:t>
            </a:r>
          </a:p>
          <a:p>
            <a:r>
              <a:rPr lang="fr-CH" dirty="0"/>
              <a:t>84% </a:t>
            </a:r>
            <a:r>
              <a:rPr lang="en-US" dirty="0"/>
              <a:t>of the responses confirmed data and information exchanged with riparian</a:t>
            </a:r>
            <a:endParaRPr lang="fr-CH" dirty="0"/>
          </a:p>
          <a:p>
            <a:r>
              <a:rPr lang="fr-CH" dirty="0"/>
              <a:t>O</a:t>
            </a:r>
            <a:r>
              <a:rPr lang="en-US" dirty="0" err="1"/>
              <a:t>nly</a:t>
            </a:r>
            <a:r>
              <a:rPr lang="en-US" dirty="0"/>
              <a:t> 24% of the responses indicated that a shared database or information platform is in place</a:t>
            </a:r>
          </a:p>
          <a:p>
            <a:r>
              <a:rPr lang="en-US" dirty="0"/>
              <a:t>Main difficulty identified: harmonization of national data management and processing</a:t>
            </a:r>
          </a:p>
          <a:p>
            <a:r>
              <a:rPr lang="en-US" dirty="0"/>
              <a:t>Other difficulties included: lack of resources and capacities, insufficient monitoring networks, and no actual agreement or arrangement in place.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b="1" dirty="0"/>
              <a:t>Data exchange is still a challenge even under the Convention 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8662E33-AADF-4354-9117-430840675F3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0592612"/>
              </p:ext>
            </p:extLst>
          </p:nvPr>
        </p:nvGraphicFramePr>
        <p:xfrm>
          <a:off x="4067944" y="1066800"/>
          <a:ext cx="5101456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51181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E08B51-FA51-463E-9CD4-C9230C3829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19" y="260648"/>
            <a:ext cx="8640960" cy="616351"/>
          </a:xfrm>
        </p:spPr>
        <p:txBody>
          <a:bodyPr>
            <a:normAutofit/>
          </a:bodyPr>
          <a:lstStyle/>
          <a:p>
            <a:r>
              <a:rPr lang="fr-CH" b="1" dirty="0" err="1">
                <a:solidFill>
                  <a:srgbClr val="7030A0"/>
                </a:solidFill>
              </a:rPr>
              <a:t>Overview</a:t>
            </a:r>
            <a:r>
              <a:rPr lang="fr-CH" b="1" dirty="0">
                <a:solidFill>
                  <a:srgbClr val="7030A0"/>
                </a:solidFill>
              </a:rPr>
              <a:t> Programme of </a:t>
            </a:r>
            <a:r>
              <a:rPr lang="fr-CH" b="1" dirty="0" err="1">
                <a:solidFill>
                  <a:srgbClr val="7030A0"/>
                </a:solidFill>
              </a:rPr>
              <a:t>work</a:t>
            </a:r>
            <a:r>
              <a:rPr lang="fr-CH" b="1" dirty="0">
                <a:solidFill>
                  <a:srgbClr val="7030A0"/>
                </a:solidFill>
              </a:rPr>
              <a:t> for 2019-2021</a:t>
            </a:r>
            <a:endParaRPr lang="en-US" b="1" dirty="0">
              <a:solidFill>
                <a:srgbClr val="7030A0"/>
              </a:solidFill>
            </a:endParaRP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03F6CE55-9AC4-451F-85F9-6576BD51D824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-165926" y="1124744"/>
            <a:ext cx="9475851" cy="573325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B3F9BFB-B5C0-42D8-A28B-929B874DDE84}"/>
              </a:ext>
            </a:extLst>
          </p:cNvPr>
          <p:cNvSpPr/>
          <p:nvPr/>
        </p:nvSpPr>
        <p:spPr>
          <a:xfrm>
            <a:off x="2267744" y="4221088"/>
            <a:ext cx="1440160" cy="1008112"/>
          </a:xfrm>
          <a:prstGeom prst="rect">
            <a:avLst/>
          </a:prstGeom>
          <a:noFill/>
          <a:ln w="50800">
            <a:solidFill>
              <a:schemeClr val="accent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357806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14EFC80-FF7F-4905-AE91-F9C252E17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0" y="1320651"/>
            <a:ext cx="3691820" cy="208220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6456" y="594682"/>
            <a:ext cx="8229600" cy="762000"/>
          </a:xfrm>
        </p:spPr>
        <p:txBody>
          <a:bodyPr>
            <a:normAutofit fontScale="90000"/>
          </a:bodyPr>
          <a:lstStyle/>
          <a:p>
            <a:r>
              <a:rPr lang="en-GB" sz="3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 Area 2: Supporting monitoring, assessment and information sharing in transboundary basins </a:t>
            </a:r>
            <a:endParaRPr lang="en-GB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98996" y="1700808"/>
            <a:ext cx="7745412" cy="45625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CH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 Parties: </a:t>
            </a:r>
            <a:r>
              <a:rPr lang="fr-CH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land</a:t>
            </a:r>
            <a:r>
              <a:rPr lang="fr-CH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H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egal</a:t>
            </a:r>
            <a:r>
              <a:rPr lang="fr-CH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fr-CH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c</a:t>
            </a:r>
            <a:r>
              <a:rPr lang="fr-CH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indent="0">
              <a:buNone/>
            </a:pPr>
            <a:endParaRPr lang="en-GB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GB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1 Organize a global workshop on data </a:t>
            </a:r>
            <a:br>
              <a:rPr lang="en-GB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information exchange, publish </a:t>
            </a:r>
            <a:br>
              <a:rPr lang="en-GB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tantive background paper</a:t>
            </a:r>
          </a:p>
          <a:p>
            <a:pPr marL="0" indent="0">
              <a:buNone/>
            </a:pPr>
            <a:endParaRPr lang="fr-CH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fr-CH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 </a:t>
            </a:r>
            <a:r>
              <a:rPr lang="fr-CH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ilored</a:t>
            </a:r>
            <a:r>
              <a:rPr lang="fr-CH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istance and </a:t>
            </a:r>
            <a:r>
              <a:rPr lang="fr-CH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e-gathering</a:t>
            </a:r>
            <a:endParaRPr lang="en-GB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ed assistance to cooperation processes on monitoring and assessment (</a:t>
            </a:r>
            <a:r>
              <a:rPr lang="en-US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es and expert support) </a:t>
            </a:r>
            <a:r>
              <a:rPr lang="fr-CH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en-GB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fr-CH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 exchanges/ </a:t>
            </a:r>
            <a:r>
              <a:rPr lang="fr-CH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inning</a:t>
            </a:r>
            <a:r>
              <a:rPr lang="fr-CH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fr-CH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*</a:t>
            </a:r>
            <a:endParaRPr lang="en-GB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different activities, especially basin activities, to collect information on common challenges and needs to guide future review of guidance under the Convention</a:t>
            </a:r>
            <a:r>
              <a:rPr lang="en-GB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en-GB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en-GB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923D9C-B05C-442B-BE43-056C4AC24896}"/>
              </a:ext>
            </a:extLst>
          </p:cNvPr>
          <p:cNvSpPr txBox="1"/>
          <p:nvPr/>
        </p:nvSpPr>
        <p:spPr>
          <a:xfrm>
            <a:off x="2915816" y="6381328"/>
            <a:ext cx="3652280" cy="253916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CH" sz="105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: </a:t>
            </a:r>
            <a:r>
              <a:rPr lang="fr-CH" sz="105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Global </a:t>
            </a:r>
            <a:r>
              <a:rPr lang="fr-CH" sz="1050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</a:t>
            </a:r>
            <a:r>
              <a:rPr lang="fr-CH" sz="105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H" sz="105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fr-CH" sz="105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</a:t>
            </a:r>
            <a:r>
              <a:rPr lang="fr-CH" sz="105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basin-</a:t>
            </a:r>
            <a:r>
              <a:rPr lang="fr-CH" sz="1050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</a:t>
            </a:r>
            <a:r>
              <a:rPr lang="fr-CH" sz="105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H" sz="1050" dirty="0">
                <a:solidFill>
                  <a:srgbClr val="D899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National </a:t>
            </a:r>
            <a:r>
              <a:rPr lang="fr-CH" sz="1050" dirty="0" err="1">
                <a:solidFill>
                  <a:srgbClr val="D899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l</a:t>
            </a:r>
            <a:endParaRPr lang="en-GB" sz="1050" dirty="0">
              <a:solidFill>
                <a:srgbClr val="D899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635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886CB3-400F-4532-AD7A-C5E53ED81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>
                <a:solidFill>
                  <a:srgbClr val="7030A0"/>
                </a:solidFill>
              </a:rPr>
              <a:t>Discussion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C3F3DF-7AED-4435-9668-3F54DEC701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What issues should the work on information sharing cover from your perspective? </a:t>
            </a:r>
          </a:p>
          <a:p>
            <a:pPr lvl="1"/>
            <a:r>
              <a:rPr lang="en-GB" dirty="0"/>
              <a:t>Do you have specific suggestions?</a:t>
            </a:r>
          </a:p>
          <a:p>
            <a:endParaRPr lang="en-GB" dirty="0"/>
          </a:p>
          <a:p>
            <a:r>
              <a:rPr lang="en-GB" dirty="0"/>
              <a:t>Do you see areas of interest in the Convention’s programme of work for 2019-2021?</a:t>
            </a:r>
          </a:p>
          <a:p>
            <a:pPr lvl="1"/>
            <a:r>
              <a:rPr lang="en-GB" dirty="0"/>
              <a:t>Would you be interested in collaborating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3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">
            <a:extLst>
              <a:ext uri="{FF2B5EF4-FFF2-40B4-BE49-F238E27FC236}">
                <a16:creationId xmlns:a16="http://schemas.microsoft.com/office/drawing/2014/main" id="{8270EE4D-1AB7-4DBA-865B-D867A155FD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" r="225"/>
          <a:stretch/>
        </p:blipFill>
        <p:spPr>
          <a:xfrm>
            <a:off x="1331640" y="2204864"/>
            <a:ext cx="7447498" cy="3865115"/>
          </a:xfrm>
          <a:prstGeom prst="rect">
            <a:avLst/>
          </a:prstGeom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76DE18B-501D-43D9-850E-8BF0DA92A6FC}"/>
              </a:ext>
            </a:extLst>
          </p:cNvPr>
          <p:cNvSpPr txBox="1"/>
          <p:nvPr/>
        </p:nvSpPr>
        <p:spPr>
          <a:xfrm>
            <a:off x="3347864" y="5866680"/>
            <a:ext cx="41947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Source: UNESCO-IGRAC (aquifers); GEF-TWAP (river and lake basins)</a:t>
            </a:r>
            <a:endParaRPr lang="en-GB" sz="105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AEB7408-CFC6-40D2-A8C8-C0E0CFEBF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48" y="330697"/>
            <a:ext cx="8579296" cy="473968"/>
          </a:xfrm>
        </p:spPr>
        <p:txBody>
          <a:bodyPr/>
          <a:lstStyle/>
          <a:p>
            <a:r>
              <a:rPr lang="en-US" sz="3000" dirty="0">
                <a:solidFill>
                  <a:srgbClr val="7030A0"/>
                </a:solidFill>
              </a:rPr>
              <a:t>Water resources are essentially transboundary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39789A8-C4FB-4CFC-8EEA-0745190234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4948" y="1029060"/>
            <a:ext cx="8435280" cy="1305756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ost of the world’s water resources are shared. </a:t>
            </a: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velopment and management of water resources has impacts across transboundary basins 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ooperation is required</a:t>
            </a:r>
          </a:p>
          <a:p>
            <a:pPr>
              <a:buFont typeface="Symbol" panose="05050102010706020507" pitchFamily="18" charset="2"/>
              <a:buChar char="Þ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897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DA13CB-5CC2-44B2-A7D3-685BD2654D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59921"/>
            <a:ext cx="7886700" cy="4230051"/>
          </a:xfrm>
        </p:spPr>
        <p:txBody>
          <a:bodyPr/>
          <a:lstStyle/>
          <a:p>
            <a:pPr marL="0" indent="0" algn="ctr">
              <a:buNone/>
            </a:pPr>
            <a:endParaRPr lang="fr-CH" dirty="0"/>
          </a:p>
          <a:p>
            <a:pPr marL="0" indent="0" algn="ctr">
              <a:buNone/>
            </a:pPr>
            <a:endParaRPr lang="fr-CH" dirty="0"/>
          </a:p>
          <a:p>
            <a:pPr marL="0" indent="0" algn="ctr">
              <a:buNone/>
            </a:pPr>
            <a:r>
              <a:rPr lang="fr-CH" sz="3200" i="1" dirty="0" err="1">
                <a:solidFill>
                  <a:srgbClr val="7030A0"/>
                </a:solidFill>
              </a:rPr>
              <a:t>Thank</a:t>
            </a:r>
            <a:r>
              <a:rPr lang="fr-CH" sz="3200" i="1" dirty="0">
                <a:solidFill>
                  <a:srgbClr val="7030A0"/>
                </a:solidFill>
              </a:rPr>
              <a:t> </a:t>
            </a:r>
            <a:r>
              <a:rPr lang="fr-CH" sz="3200" i="1" dirty="0" err="1">
                <a:solidFill>
                  <a:srgbClr val="7030A0"/>
                </a:solidFill>
              </a:rPr>
              <a:t>you</a:t>
            </a:r>
            <a:r>
              <a:rPr lang="fr-CH" sz="3200" i="1" dirty="0">
                <a:solidFill>
                  <a:srgbClr val="7030A0"/>
                </a:solidFill>
              </a:rPr>
              <a:t> for </a:t>
            </a:r>
            <a:r>
              <a:rPr lang="fr-CH" sz="3200" i="1" dirty="0" err="1">
                <a:solidFill>
                  <a:srgbClr val="7030A0"/>
                </a:solidFill>
              </a:rPr>
              <a:t>your</a:t>
            </a:r>
            <a:r>
              <a:rPr lang="fr-CH" sz="3200" i="1" dirty="0">
                <a:solidFill>
                  <a:srgbClr val="7030A0"/>
                </a:solidFill>
              </a:rPr>
              <a:t> attention !</a:t>
            </a:r>
          </a:p>
          <a:p>
            <a:pPr marL="0" indent="0" algn="ctr">
              <a:buNone/>
            </a:pPr>
            <a:endParaRPr lang="fr-CH" dirty="0"/>
          </a:p>
          <a:p>
            <a:pPr marL="0" indent="0" algn="ctr">
              <a:buNone/>
            </a:pPr>
            <a:r>
              <a:rPr lang="fr-CH" b="1" u="sng" dirty="0"/>
              <a:t>Contact: </a:t>
            </a:r>
          </a:p>
          <a:p>
            <a:pPr marL="0" indent="0" algn="ctr">
              <a:buNone/>
            </a:pPr>
            <a:r>
              <a:rPr lang="fr-FR" dirty="0">
                <a:solidFill>
                  <a:schemeClr val="accent1"/>
                </a:solidFill>
              </a:rPr>
              <a:t>Water Convention </a:t>
            </a:r>
            <a:r>
              <a:rPr lang="fr-FR" dirty="0" err="1">
                <a:solidFill>
                  <a:schemeClr val="accent1"/>
                </a:solidFill>
              </a:rPr>
              <a:t>Secretariat</a:t>
            </a:r>
            <a:r>
              <a:rPr lang="fr-FR" dirty="0">
                <a:solidFill>
                  <a:schemeClr val="accent1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fr-FR" dirty="0">
                <a:solidFill>
                  <a:schemeClr val="accent1"/>
                </a:solidFill>
              </a:rPr>
              <a:t>Palais des Nations, Geneva, </a:t>
            </a:r>
            <a:r>
              <a:rPr lang="fr-FR" dirty="0" err="1">
                <a:solidFill>
                  <a:schemeClr val="accent1"/>
                </a:solidFill>
              </a:rPr>
              <a:t>Switzerland</a:t>
            </a:r>
            <a:endParaRPr lang="fr-FR" dirty="0">
              <a:solidFill>
                <a:schemeClr val="accent1"/>
              </a:solidFill>
            </a:endParaRPr>
          </a:p>
          <a:p>
            <a:pPr marL="0" indent="0" algn="ctr">
              <a:buNone/>
            </a:pPr>
            <a:r>
              <a:rPr lang="fr-FR" dirty="0">
                <a:solidFill>
                  <a:schemeClr val="accent1"/>
                </a:solidFill>
              </a:rPr>
              <a:t>water.convention@un.org</a:t>
            </a:r>
          </a:p>
        </p:txBody>
      </p:sp>
    </p:spTree>
    <p:extLst>
      <p:ext uri="{BB962C8B-B14F-4D97-AF65-F5344CB8AC3E}">
        <p14:creationId xmlns:p14="http://schemas.microsoft.com/office/powerpoint/2010/main" val="149241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E5AB284-2828-4E9C-8F79-9275C177E0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1" y="1628800"/>
            <a:ext cx="3898775" cy="3744416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Purpose </a:t>
            </a:r>
          </a:p>
          <a:p>
            <a:pPr lvl="1"/>
            <a:r>
              <a:rPr lang="en-US" dirty="0"/>
              <a:t>Foster cooperation over transboundary waters in order to ensure that they are sustainably and equitably managed</a:t>
            </a:r>
          </a:p>
          <a:p>
            <a:pPr lvl="1"/>
            <a:endParaRPr lang="en-US" dirty="0"/>
          </a:p>
          <a:p>
            <a:r>
              <a:rPr lang="en-US" dirty="0"/>
              <a:t>Three key principles of the Convention</a:t>
            </a:r>
          </a:p>
          <a:p>
            <a:pPr lvl="1"/>
            <a:r>
              <a:rPr lang="en-US" dirty="0"/>
              <a:t>Principle of prevention </a:t>
            </a:r>
          </a:p>
          <a:p>
            <a:pPr lvl="1"/>
            <a:r>
              <a:rPr lang="en-US" dirty="0"/>
              <a:t>Principle of equitable and reasonable utilization </a:t>
            </a:r>
          </a:p>
          <a:p>
            <a:pPr lvl="1"/>
            <a:r>
              <a:rPr lang="en-US" dirty="0"/>
              <a:t>Principle of cooperation </a:t>
            </a:r>
          </a:p>
          <a:p>
            <a:pPr lvl="1"/>
            <a:endParaRPr lang="fr-CH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2ACC47-1B48-49E6-87EA-BDF81A31D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389008"/>
            <a:ext cx="8229600" cy="762000"/>
          </a:xfrm>
        </p:spPr>
        <p:txBody>
          <a:bodyPr/>
          <a:lstStyle/>
          <a:p>
            <a:r>
              <a:rPr lang="en-US" dirty="0">
                <a:solidFill>
                  <a:srgbClr val="7030A0"/>
                </a:solidFill>
              </a:rPr>
              <a:t>Purpose, scope and content of the </a:t>
            </a:r>
            <a:br>
              <a:rPr lang="en-US" dirty="0">
                <a:solidFill>
                  <a:srgbClr val="7030A0"/>
                </a:solidFill>
              </a:rPr>
            </a:br>
            <a:r>
              <a:rPr lang="en-US" dirty="0">
                <a:solidFill>
                  <a:srgbClr val="7030A0"/>
                </a:solidFill>
              </a:rPr>
              <a:t>Water Convention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C44E0A87-C33E-4BC1-AB7A-835313E1191D}"/>
              </a:ext>
            </a:extLst>
          </p:cNvPr>
          <p:cNvSpPr txBox="1">
            <a:spLocks/>
          </p:cNvSpPr>
          <p:nvPr/>
        </p:nvSpPr>
        <p:spPr>
          <a:xfrm>
            <a:off x="4355976" y="1484784"/>
            <a:ext cx="4670561" cy="3888432"/>
          </a:xfrm>
          <a:prstGeom prst="rect">
            <a:avLst/>
          </a:prstGeom>
          <a:solidFill>
            <a:srgbClr val="D9EFF9"/>
          </a:solidFill>
        </p:spPr>
        <p:txBody>
          <a:bodyPr vert="horz" lIns="0" tIns="0" rIns="0" bIns="0" rtlCol="0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2000" kern="120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2000" kern="120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sz="1500" dirty="0"/>
          </a:p>
          <a:p>
            <a:pPr marL="0" indent="0" algn="ctr">
              <a:buNone/>
            </a:pPr>
            <a:endParaRPr lang="en-US" sz="1500" dirty="0"/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8836FE5E-98C5-4F48-ABA6-CAF0B6FBF96A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7" r="12428" b="37032"/>
          <a:stretch>
            <a:fillRect/>
          </a:stretch>
        </p:blipFill>
        <p:spPr bwMode="auto">
          <a:xfrm>
            <a:off x="4524698" y="1628800"/>
            <a:ext cx="1645920" cy="1097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G:\EHLM\Water Convention\PUBLICATIONS\ECE_MP.WAT_39_Guide to implementing the Convention\Pictures\IISD_MOP.jpg">
            <a:extLst>
              <a:ext uri="{FF2B5EF4-FFF2-40B4-BE49-F238E27FC236}">
                <a16:creationId xmlns:a16="http://schemas.microsoft.com/office/drawing/2014/main" id="{BEFD5D07-A35F-4633-BD82-4369FBD2B156}"/>
              </a:ext>
            </a:extLst>
          </p:cNvPr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19" r="3905"/>
          <a:stretch>
            <a:fillRect/>
          </a:stretch>
        </p:blipFill>
        <p:spPr bwMode="auto">
          <a:xfrm>
            <a:off x="4524698" y="2861063"/>
            <a:ext cx="1645920" cy="1097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http://images.nationalgeographic.com/wpf/media-live/photos/000/768/cache/can-jordan-river-be-saved-1_76850_990x742.jpg">
            <a:extLst>
              <a:ext uri="{FF2B5EF4-FFF2-40B4-BE49-F238E27FC236}">
                <a16:creationId xmlns:a16="http://schemas.microsoft.com/office/drawing/2014/main" id="{2A310890-AEE7-4660-919B-5586588DF548}"/>
              </a:ext>
            </a:extLst>
          </p:cNvPr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698" y="4098593"/>
            <a:ext cx="1645920" cy="1097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B59A8A7-6740-4074-BA4E-0BA18B7D9D20}"/>
              </a:ext>
            </a:extLst>
          </p:cNvPr>
          <p:cNvSpPr/>
          <p:nvPr/>
        </p:nvSpPr>
        <p:spPr>
          <a:xfrm>
            <a:off x="6226569" y="1964145"/>
            <a:ext cx="27329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A </a:t>
            </a: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sound</a:t>
            </a: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 </a:t>
            </a: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legal</a:t>
            </a: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 </a:t>
            </a: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framework</a:t>
            </a:r>
            <a:endParaRPr lang="en-GB" altLang="en-US" dirty="0">
              <a:solidFill>
                <a:schemeClr val="accent1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B5F614-FD0B-45C4-909D-1EB250205066}"/>
              </a:ext>
            </a:extLst>
          </p:cNvPr>
          <p:cNvSpPr/>
          <p:nvPr/>
        </p:nvSpPr>
        <p:spPr>
          <a:xfrm>
            <a:off x="6254544" y="3026904"/>
            <a:ext cx="27049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An active </a:t>
            </a: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institutional</a:t>
            </a: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 </a:t>
            </a: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framework</a:t>
            </a:r>
            <a:endParaRPr lang="en-GB" altLang="en-US" dirty="0">
              <a:solidFill>
                <a:schemeClr val="accent1"/>
              </a:solidFill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F065B0-1C71-4EED-9C65-DB4FE5C82F5E}"/>
              </a:ext>
            </a:extLst>
          </p:cNvPr>
          <p:cNvSpPr/>
          <p:nvPr/>
        </p:nvSpPr>
        <p:spPr>
          <a:xfrm>
            <a:off x="6226569" y="4366662"/>
            <a:ext cx="27329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Activities</a:t>
            </a: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 and </a:t>
            </a: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projects</a:t>
            </a: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 ‘on the </a:t>
            </a:r>
            <a:r>
              <a:rPr lang="fr-CH" altLang="en-US" dirty="0" err="1">
                <a:solidFill>
                  <a:schemeClr val="accent1"/>
                </a:solidFill>
                <a:latin typeface="Arial" charset="0"/>
                <a:cs typeface="Arial" charset="0"/>
              </a:rPr>
              <a:t>ground</a:t>
            </a:r>
            <a:r>
              <a:rPr lang="fr-CH" altLang="en-US" dirty="0">
                <a:solidFill>
                  <a:schemeClr val="accent1"/>
                </a:solidFill>
                <a:latin typeface="Arial" charset="0"/>
                <a:cs typeface="Arial" charset="0"/>
              </a:rPr>
              <a:t>’</a:t>
            </a:r>
            <a:endParaRPr lang="en-GB" altLang="en-US" dirty="0">
              <a:solidFill>
                <a:schemeClr val="accent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61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 Brace 1"/>
          <p:cNvSpPr/>
          <p:nvPr/>
        </p:nvSpPr>
        <p:spPr>
          <a:xfrm>
            <a:off x="7261005" y="1929568"/>
            <a:ext cx="572914" cy="3193104"/>
          </a:xfrm>
          <a:prstGeom prst="rightBrac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350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80389" y="1929567"/>
            <a:ext cx="5255215" cy="646331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/>
          <a:p>
            <a:pPr algn="ctr"/>
            <a:r>
              <a:rPr lang="en-GB" b="1" dirty="0"/>
              <a:t>Meeting of the Parties </a:t>
            </a:r>
            <a:br>
              <a:rPr lang="en-GB" b="1" dirty="0"/>
            </a:br>
            <a:r>
              <a:rPr lang="en-GB" b="1" dirty="0"/>
              <a:t>to the Water Convention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79958" y="2813765"/>
            <a:ext cx="2448026" cy="830997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r>
              <a:rPr lang="en-GB" sz="1600" b="0" dirty="0"/>
              <a:t>Working Group on Integrated Water Resources Managem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51802" y="2813476"/>
            <a:ext cx="2448025" cy="830997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r>
              <a:rPr lang="en-GB" sz="1600" b="0" dirty="0"/>
              <a:t>Working Group on Monitoring and Assessmen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79882" y="3776953"/>
            <a:ext cx="5219945" cy="830997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0"/>
            </a:lvl1pPr>
          </a:lstStyle>
          <a:p>
            <a:r>
              <a:rPr lang="en-GB" dirty="0"/>
              <a:t>Task Force on Water &amp; Climate</a:t>
            </a:r>
          </a:p>
          <a:p>
            <a:r>
              <a:rPr lang="en-GB" dirty="0"/>
              <a:t>Task Force on Water-Food-Energy-Ecosystems Nexus</a:t>
            </a:r>
          </a:p>
          <a:p>
            <a:r>
              <a:rPr lang="en-GB" dirty="0"/>
              <a:t>Expert Group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979882" y="4784118"/>
            <a:ext cx="5219945" cy="338554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0"/>
            </a:lvl1pPr>
          </a:lstStyle>
          <a:p>
            <a:r>
              <a:rPr lang="en-GB" dirty="0"/>
              <a:t>Secretariat (UNECE)</a:t>
            </a:r>
          </a:p>
        </p:txBody>
      </p:sp>
      <p:sp>
        <p:nvSpPr>
          <p:cNvPr id="11" name="Oval 10"/>
          <p:cNvSpPr/>
          <p:nvPr/>
        </p:nvSpPr>
        <p:spPr>
          <a:xfrm>
            <a:off x="269041" y="2473441"/>
            <a:ext cx="1655323" cy="756084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2" name="TextBox 11"/>
          <p:cNvSpPr txBox="1"/>
          <p:nvPr/>
        </p:nvSpPr>
        <p:spPr>
          <a:xfrm>
            <a:off x="81569" y="2590773"/>
            <a:ext cx="19787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500" dirty="0"/>
              <a:t>Implementation Committee</a:t>
            </a:r>
          </a:p>
        </p:txBody>
      </p:sp>
      <p:sp>
        <p:nvSpPr>
          <p:cNvPr id="13" name="Oval 12"/>
          <p:cNvSpPr/>
          <p:nvPr/>
        </p:nvSpPr>
        <p:spPr>
          <a:xfrm>
            <a:off x="220725" y="3436368"/>
            <a:ext cx="1655323" cy="756084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4" name="TextBox 13"/>
          <p:cNvSpPr txBox="1"/>
          <p:nvPr/>
        </p:nvSpPr>
        <p:spPr>
          <a:xfrm>
            <a:off x="184086" y="3627974"/>
            <a:ext cx="169196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35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gal </a:t>
            </a:r>
            <a:r>
              <a:rPr lang="en-GB" sz="15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oard</a:t>
            </a:r>
            <a:endParaRPr lang="en-GB" sz="135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Flowchart: Data 14"/>
          <p:cNvSpPr/>
          <p:nvPr/>
        </p:nvSpPr>
        <p:spPr>
          <a:xfrm>
            <a:off x="7368988" y="3144771"/>
            <a:ext cx="1655752" cy="519522"/>
          </a:xfrm>
          <a:prstGeom prst="flowChartInputOutpu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6" name="TextBox 15"/>
          <p:cNvSpPr txBox="1"/>
          <p:nvPr/>
        </p:nvSpPr>
        <p:spPr>
          <a:xfrm>
            <a:off x="7332993" y="3074036"/>
            <a:ext cx="17277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/>
              <a:t>Bureau</a:t>
            </a:r>
            <a:endParaRPr lang="en-GB" b="1" dirty="0"/>
          </a:p>
        </p:txBody>
      </p:sp>
      <p:sp>
        <p:nvSpPr>
          <p:cNvPr id="3" name="Left-Up Arrow 2"/>
          <p:cNvSpPr/>
          <p:nvPr/>
        </p:nvSpPr>
        <p:spPr>
          <a:xfrm flipH="1" flipV="1">
            <a:off x="954648" y="2110320"/>
            <a:ext cx="1025309" cy="331005"/>
          </a:xfrm>
          <a:prstGeom prst="leftUpArrow">
            <a:avLst>
              <a:gd name="adj1" fmla="val 0"/>
              <a:gd name="adj2" fmla="val 25000"/>
              <a:gd name="adj3" fmla="val 25000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7030A0"/>
                </a:solidFill>
              </a:rPr>
              <a:t>Institutional framework</a:t>
            </a:r>
            <a:endParaRPr lang="en-GB" b="1" dirty="0">
              <a:solidFill>
                <a:srgbClr val="7030A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E8BC8E9-178D-4AB3-9C3B-087908AAB4C9}"/>
              </a:ext>
            </a:extLst>
          </p:cNvPr>
          <p:cNvSpPr txBox="1"/>
          <p:nvPr/>
        </p:nvSpPr>
        <p:spPr>
          <a:xfrm>
            <a:off x="457933" y="4373068"/>
            <a:ext cx="1241816" cy="42704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675" dirty="0">
              <a:solidFill>
                <a:prstClr val="black"/>
              </a:solidFill>
              <a:latin typeface="Arial" charset="0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500" dirty="0">
                <a:solidFill>
                  <a:prstClr val="black"/>
                </a:solidFill>
                <a:latin typeface="Arial" charset="0"/>
                <a:cs typeface="Arial" charset="0"/>
              </a:rPr>
              <a:t>IWAC</a:t>
            </a:r>
          </a:p>
        </p:txBody>
      </p:sp>
    </p:spTree>
    <p:extLst>
      <p:ext uri="{BB962C8B-B14F-4D97-AF65-F5344CB8AC3E}">
        <p14:creationId xmlns:p14="http://schemas.microsoft.com/office/powerpoint/2010/main" val="267880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4684" y="216457"/>
            <a:ext cx="8229600" cy="762000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7030A0"/>
                </a:solidFill>
              </a:rPr>
              <a:t>Status of ratification of the Water Conven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39343" y="1217790"/>
            <a:ext cx="8229600" cy="4800600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Chad Party since 23 May 2018</a:t>
            </a:r>
          </a:p>
          <a:p>
            <a:r>
              <a:rPr lang="fr-CH" dirty="0">
                <a:solidFill>
                  <a:schemeClr val="accent1">
                    <a:lumMod val="75000"/>
                  </a:schemeClr>
                </a:solidFill>
              </a:rPr>
              <a:t>S</a:t>
            </a:r>
            <a:r>
              <a:rPr lang="en-US" dirty="0" err="1">
                <a:solidFill>
                  <a:schemeClr val="accent1">
                    <a:lumMod val="75000"/>
                  </a:schemeClr>
                </a:solidFill>
              </a:rPr>
              <a:t>enegal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deposited the instrument of accession 31 August 2018</a:t>
            </a:r>
            <a:endParaRPr lang="en-GB" dirty="0"/>
          </a:p>
        </p:txBody>
      </p:sp>
      <p:sp>
        <p:nvSpPr>
          <p:cNvPr id="438" name="Rectangle: Diagonal Corners Rounded 5">
            <a:extLst>
              <a:ext uri="{FF2B5EF4-FFF2-40B4-BE49-F238E27FC236}">
                <a16:creationId xmlns:a16="http://schemas.microsoft.com/office/drawing/2014/main" id="{866ECE02-2F4E-42CE-8FE8-2C8F13CD009C}"/>
              </a:ext>
            </a:extLst>
          </p:cNvPr>
          <p:cNvSpPr/>
          <p:nvPr/>
        </p:nvSpPr>
        <p:spPr>
          <a:xfrm rot="19856764">
            <a:off x="62952" y="3453951"/>
            <a:ext cx="1466199" cy="599488"/>
          </a:xfrm>
          <a:prstGeom prst="round2DiagRect">
            <a:avLst/>
          </a:prstGeom>
          <a:ln w="19050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2101" dirty="0"/>
              <a:t>Soon 43 Parties</a:t>
            </a:r>
          </a:p>
        </p:txBody>
      </p:sp>
      <p:grpSp>
        <p:nvGrpSpPr>
          <p:cNvPr id="221" name="Group 220"/>
          <p:cNvGrpSpPr>
            <a:grpSpLocks noChangeAspect="1"/>
          </p:cNvGrpSpPr>
          <p:nvPr/>
        </p:nvGrpSpPr>
        <p:grpSpPr>
          <a:xfrm>
            <a:off x="971600" y="1969777"/>
            <a:ext cx="8074187" cy="3962796"/>
            <a:chOff x="2467496" y="1537342"/>
            <a:chExt cx="4046537" cy="2389187"/>
          </a:xfrm>
        </p:grpSpPr>
        <p:sp>
          <p:nvSpPr>
            <p:cNvPr id="222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208858" y="2777179"/>
              <a:ext cx="69850" cy="49213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3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707208" y="2651767"/>
              <a:ext cx="82550" cy="16033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4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788171" y="2137417"/>
              <a:ext cx="171450" cy="269875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5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146946" y="2440629"/>
              <a:ext cx="169862" cy="76200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6" name="Freeform 14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639196" y="2289817"/>
              <a:ext cx="1281112" cy="1038225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7" name="Freeform 1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331096" y="1831029"/>
              <a:ext cx="220662" cy="273050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8" name="Freeform 1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3067571" y="2248542"/>
              <a:ext cx="182562" cy="238125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9" name="Freeform 1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092971" y="2505717"/>
              <a:ext cx="250825" cy="274637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0" name="Freeform 1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110433" y="2673992"/>
              <a:ext cx="33338" cy="82550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1" name="Freeform 2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715146" y="2597792"/>
              <a:ext cx="280987" cy="247650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2" name="Freeform 2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347221" y="3335979"/>
              <a:ext cx="207962" cy="455613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3" name="Freeform 30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961333" y="2248542"/>
              <a:ext cx="874713" cy="45243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4" name="Freeform 3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91521" y="2551754"/>
              <a:ext cx="409575" cy="249238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5" name="Freeform 32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999308" y="3555054"/>
              <a:ext cx="296863" cy="288925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6" name="Freeform 33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842271" y="3420117"/>
              <a:ext cx="152400" cy="1698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7" name="Freeform 34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304108" y="2424754"/>
              <a:ext cx="125413" cy="57150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8" name="Freeform 35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167708" y="3145479"/>
              <a:ext cx="19050" cy="57150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9" name="Freeform 36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286771" y="3150242"/>
              <a:ext cx="14287" cy="57150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0" name="Freeform 37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774258" y="3810642"/>
              <a:ext cx="44450" cy="57150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1" name="Freeform 77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282258" y="3718567"/>
              <a:ext cx="9525" cy="57150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2" name="Freeform 80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6345758" y="3707454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3" name="Freeform 104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5229746" y="3551879"/>
              <a:ext cx="6350" cy="57150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4" name="Freeform 109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6210821" y="2564454"/>
              <a:ext cx="4762" cy="58738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5" name="Freeform 110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6025083" y="3126429"/>
              <a:ext cx="14288" cy="58738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6" name="Freeform 111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042546" y="3061342"/>
              <a:ext cx="15875" cy="57150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7" name="Freeform 112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931421" y="2910529"/>
              <a:ext cx="1587" cy="60325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8" name="Freeform 113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783408" y="2037404"/>
              <a:ext cx="9525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9" name="Freeform 114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2769121" y="1805629"/>
              <a:ext cx="3175" cy="57150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0" name="Freeform 115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250258" y="3583629"/>
              <a:ext cx="25400" cy="55563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1" name="Freeform 116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953396" y="3445517"/>
              <a:ext cx="19050" cy="58737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2" name="Freeform 161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4858271" y="2337442"/>
              <a:ext cx="728662" cy="331787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3" name="Freeform 226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3096146" y="1570679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4" name="Freeform 227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023121" y="1800867"/>
              <a:ext cx="449262" cy="361950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5" name="Freeform 228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362846" y="2642242"/>
              <a:ext cx="49212" cy="90487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6" name="Freeform 229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070746" y="2481904"/>
              <a:ext cx="84137" cy="58738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7" name="Freeform 230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008833" y="2300929"/>
              <a:ext cx="84138" cy="73025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8" name="Freeform 231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989783" y="2364429"/>
              <a:ext cx="84138" cy="57150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9" name="Freeform 232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750196" y="2918467"/>
              <a:ext cx="33337" cy="131762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0" name="Freeform 233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699396" y="2970854"/>
              <a:ext cx="69850" cy="130175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1" name="Freeform 234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700858" y="2224729"/>
              <a:ext cx="96838" cy="144463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2" name="Freeform 235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513533" y="3135954"/>
              <a:ext cx="306388" cy="390525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3" name="Freeform 236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629421" y="3196279"/>
              <a:ext cx="414337" cy="468313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4" name="Freeform 237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727846" y="2802579"/>
              <a:ext cx="493712" cy="579438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5" name="Freeform 238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164408" y="2937517"/>
              <a:ext cx="384175" cy="43656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6" name="Freeform 239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116783" y="2802579"/>
              <a:ext cx="93663" cy="236538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7" name="Freeform 240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499246" y="3113729"/>
              <a:ext cx="231775" cy="215900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8" name="Freeform 241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67496" y="1921517"/>
              <a:ext cx="190500" cy="93662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9" name="Freeform 242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259658" y="2185042"/>
              <a:ext cx="14288" cy="57150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0" name="Freeform 243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3146946" y="1848492"/>
              <a:ext cx="234950" cy="395287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1" name="Freeform 244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285058" y="2162817"/>
              <a:ext cx="26988" cy="57150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2" name="Freeform 245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2904058" y="2110429"/>
              <a:ext cx="28575" cy="57150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3" name="Freeform 246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681933" y="2853379"/>
              <a:ext cx="50800" cy="57150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4" name="Freeform 247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3289821" y="3645542"/>
              <a:ext cx="325437" cy="244475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5" name="Freeform 256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961333" y="2718442"/>
              <a:ext cx="503238" cy="473075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6" name="Freeform 257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3985146" y="3375667"/>
              <a:ext cx="247650" cy="228600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7" name="Freeform 258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180408" y="3150242"/>
              <a:ext cx="120650" cy="120650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8" name="Freeform 259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3867671" y="2802579"/>
              <a:ext cx="222250" cy="263525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9" name="Freeform 260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4367733" y="2762892"/>
              <a:ext cx="331788" cy="290512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0" name="Freeform 261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399483" y="2812104"/>
              <a:ext cx="365125" cy="423863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1" name="Freeform 262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5190058" y="3080392"/>
              <a:ext cx="220663" cy="585787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2" name="Freeform 263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2513533" y="3589979"/>
              <a:ext cx="80963" cy="58738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3" name="Freeform 264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2597671" y="3672529"/>
              <a:ext cx="74612" cy="100013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4" name="Freeform 265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2640533" y="3723329"/>
              <a:ext cx="104775" cy="131763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5" name="Freeform 266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2854846" y="3642367"/>
              <a:ext cx="104775" cy="201612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6" name="Freeform 267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2509138" y="3531241"/>
              <a:ext cx="87313" cy="58738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7" name="Freeform 268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2932633" y="3636017"/>
              <a:ext cx="42863" cy="15557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8" name="Freeform 269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2958033" y="3597917"/>
              <a:ext cx="76200" cy="188912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9" name="Freeform 272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799658" y="2613667"/>
              <a:ext cx="120650" cy="171450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0" name="Freeform 273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4870971" y="3028004"/>
              <a:ext cx="206375" cy="123825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1" name="Freeform 274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5086871" y="3083567"/>
              <a:ext cx="73025" cy="65087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2" name="Freeform 275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5077346" y="3155004"/>
              <a:ext cx="133350" cy="166688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3" name="Freeform 276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5394846" y="3270892"/>
              <a:ext cx="201612" cy="269875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4" name="Freeform 277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5477396" y="3521717"/>
              <a:ext cx="133350" cy="130175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5" name="Freeform 278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5879033" y="2758129"/>
              <a:ext cx="85725" cy="130175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6" name="Freeform 281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4915421" y="3672529"/>
              <a:ext cx="63500" cy="119063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297" name="Group 282"/>
            <p:cNvGrpSpPr>
              <a:grpSpLocks/>
            </p:cNvGrpSpPr>
            <p:nvPr>
              <p:custDataLst>
                <p:tags r:id="rId76"/>
              </p:custDataLst>
            </p:nvPr>
          </p:nvGrpSpPr>
          <p:grpSpPr bwMode="auto">
            <a:xfrm>
              <a:off x="5855221" y="3383604"/>
              <a:ext cx="233362" cy="439738"/>
              <a:chOff x="5062" y="2295"/>
              <a:chExt cx="177" cy="279"/>
            </a:xfrm>
          </p:grpSpPr>
          <p:sp>
            <p:nvSpPr>
              <p:cNvPr id="414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0 w 60"/>
                  <a:gd name="T1" fmla="*/ 1 h 110"/>
                  <a:gd name="T2" fmla="*/ 0 w 60"/>
                  <a:gd name="T3" fmla="*/ 1 h 110"/>
                  <a:gd name="T4" fmla="*/ 1 w 60"/>
                  <a:gd name="T5" fmla="*/ 1 h 110"/>
                  <a:gd name="T6" fmla="*/ 1 w 60"/>
                  <a:gd name="T7" fmla="*/ 1 h 110"/>
                  <a:gd name="T8" fmla="*/ 1 w 60"/>
                  <a:gd name="T9" fmla="*/ 1 h 110"/>
                  <a:gd name="T10" fmla="*/ 1 w 60"/>
                  <a:gd name="T11" fmla="*/ 1 h 110"/>
                  <a:gd name="T12" fmla="*/ 1 w 60"/>
                  <a:gd name="T13" fmla="*/ 1 h 110"/>
                  <a:gd name="T14" fmla="*/ 1 w 60"/>
                  <a:gd name="T15" fmla="*/ 1 h 110"/>
                  <a:gd name="T16" fmla="*/ 1 w 60"/>
                  <a:gd name="T17" fmla="*/ 1 h 110"/>
                  <a:gd name="T18" fmla="*/ 1 w 60"/>
                  <a:gd name="T19" fmla="*/ 1 h 110"/>
                  <a:gd name="T20" fmla="*/ 1 w 60"/>
                  <a:gd name="T21" fmla="*/ 1 h 110"/>
                  <a:gd name="T22" fmla="*/ 1 w 60"/>
                  <a:gd name="T23" fmla="*/ 0 h 110"/>
                  <a:gd name="T24" fmla="*/ 1 w 60"/>
                  <a:gd name="T25" fmla="*/ 0 h 110"/>
                  <a:gd name="T26" fmla="*/ 1 w 60"/>
                  <a:gd name="T27" fmla="*/ 0 h 110"/>
                  <a:gd name="T28" fmla="*/ 1 w 60"/>
                  <a:gd name="T29" fmla="*/ 0 h 110"/>
                  <a:gd name="T30" fmla="*/ 0 w 60"/>
                  <a:gd name="T31" fmla="*/ 0 h 110"/>
                  <a:gd name="T32" fmla="*/ 0 w 60"/>
                  <a:gd name="T33" fmla="*/ 0 h 110"/>
                  <a:gd name="T34" fmla="*/ 0 w 60"/>
                  <a:gd name="T35" fmla="*/ 0 h 110"/>
                  <a:gd name="T36" fmla="*/ 0 w 60"/>
                  <a:gd name="T37" fmla="*/ 0 h 110"/>
                  <a:gd name="T38" fmla="*/ 0 w 60"/>
                  <a:gd name="T39" fmla="*/ 0 h 110"/>
                  <a:gd name="T40" fmla="*/ 0 w 60"/>
                  <a:gd name="T41" fmla="*/ 0 h 110"/>
                  <a:gd name="T42" fmla="*/ 0 w 60"/>
                  <a:gd name="T43" fmla="*/ 0 h 110"/>
                  <a:gd name="T44" fmla="*/ 0 w 60"/>
                  <a:gd name="T45" fmla="*/ 0 h 110"/>
                  <a:gd name="T46" fmla="*/ 0 w 60"/>
                  <a:gd name="T47" fmla="*/ 1 h 110"/>
                  <a:gd name="T48" fmla="*/ 0 w 60"/>
                  <a:gd name="T49" fmla="*/ 1 h 110"/>
                  <a:gd name="T50" fmla="*/ 0 w 60"/>
                  <a:gd name="T51" fmla="*/ 1 h 110"/>
                  <a:gd name="T52" fmla="*/ 0 w 60"/>
                  <a:gd name="T53" fmla="*/ 1 h 110"/>
                  <a:gd name="T54" fmla="*/ 0 w 60"/>
                  <a:gd name="T55" fmla="*/ 1 h 110"/>
                  <a:gd name="T56" fmla="*/ 0 w 60"/>
                  <a:gd name="T57" fmla="*/ 1 h 110"/>
                  <a:gd name="T58" fmla="*/ 0 w 60"/>
                  <a:gd name="T59" fmla="*/ 1 h 110"/>
                  <a:gd name="T60" fmla="*/ 0 w 60"/>
                  <a:gd name="T61" fmla="*/ 1 h 110"/>
                  <a:gd name="T62" fmla="*/ 0 w 60"/>
                  <a:gd name="T63" fmla="*/ 1 h 110"/>
                  <a:gd name="T64" fmla="*/ 0 w 60"/>
                  <a:gd name="T65" fmla="*/ 1 h 110"/>
                  <a:gd name="T66" fmla="*/ 0 w 60"/>
                  <a:gd name="T67" fmla="*/ 1 h 110"/>
                  <a:gd name="T68" fmla="*/ 0 w 60"/>
                  <a:gd name="T69" fmla="*/ 1 h 110"/>
                  <a:gd name="T70" fmla="*/ 0 w 60"/>
                  <a:gd name="T71" fmla="*/ 1 h 110"/>
                  <a:gd name="T72" fmla="*/ 0 w 60"/>
                  <a:gd name="T73" fmla="*/ 1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5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0 h 75"/>
                  <a:gd name="T2" fmla="*/ 0 w 72"/>
                  <a:gd name="T3" fmla="*/ 0 h 75"/>
                  <a:gd name="T4" fmla="*/ 0 w 72"/>
                  <a:gd name="T5" fmla="*/ 0 h 75"/>
                  <a:gd name="T6" fmla="*/ 0 w 72"/>
                  <a:gd name="T7" fmla="*/ 0 h 75"/>
                  <a:gd name="T8" fmla="*/ 0 w 72"/>
                  <a:gd name="T9" fmla="*/ 0 h 75"/>
                  <a:gd name="T10" fmla="*/ 0 w 72"/>
                  <a:gd name="T11" fmla="*/ 1 h 75"/>
                  <a:gd name="T12" fmla="*/ 1 w 72"/>
                  <a:gd name="T13" fmla="*/ 1 h 75"/>
                  <a:gd name="T14" fmla="*/ 1 w 72"/>
                  <a:gd name="T15" fmla="*/ 1 h 75"/>
                  <a:gd name="T16" fmla="*/ 1 w 72"/>
                  <a:gd name="T17" fmla="*/ 1 h 75"/>
                  <a:gd name="T18" fmla="*/ 1 w 72"/>
                  <a:gd name="T19" fmla="*/ 1 h 75"/>
                  <a:gd name="T20" fmla="*/ 1 w 72"/>
                  <a:gd name="T21" fmla="*/ 1 h 75"/>
                  <a:gd name="T22" fmla="*/ 1 w 72"/>
                  <a:gd name="T23" fmla="*/ 0 h 75"/>
                  <a:gd name="T24" fmla="*/ 1 w 72"/>
                  <a:gd name="T25" fmla="*/ 0 h 75"/>
                  <a:gd name="T26" fmla="*/ 1 w 72"/>
                  <a:gd name="T27" fmla="*/ 0 h 75"/>
                  <a:gd name="T28" fmla="*/ 1 w 72"/>
                  <a:gd name="T29" fmla="*/ 0 h 75"/>
                  <a:gd name="T30" fmla="*/ 1 w 72"/>
                  <a:gd name="T31" fmla="*/ 0 h 75"/>
                  <a:gd name="T32" fmla="*/ 1 w 72"/>
                  <a:gd name="T33" fmla="*/ 0 h 75"/>
                  <a:gd name="T34" fmla="*/ 0 w 72"/>
                  <a:gd name="T35" fmla="*/ 0 h 75"/>
                  <a:gd name="T36" fmla="*/ 0 w 72"/>
                  <a:gd name="T37" fmla="*/ 0 h 75"/>
                  <a:gd name="T38" fmla="*/ 0 w 72"/>
                  <a:gd name="T39" fmla="*/ 0 h 75"/>
                  <a:gd name="T40" fmla="*/ 0 w 72"/>
                  <a:gd name="T41" fmla="*/ 0 h 75"/>
                  <a:gd name="T42" fmla="*/ 0 w 72"/>
                  <a:gd name="T43" fmla="*/ 0 h 75"/>
                  <a:gd name="T44" fmla="*/ 0 w 72"/>
                  <a:gd name="T45" fmla="*/ 0 h 75"/>
                  <a:gd name="T46" fmla="*/ 0 w 72"/>
                  <a:gd name="T47" fmla="*/ 0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6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0 w 15"/>
                  <a:gd name="T1" fmla="*/ 1 h 49"/>
                  <a:gd name="T2" fmla="*/ 0 w 15"/>
                  <a:gd name="T3" fmla="*/ 0 h 49"/>
                  <a:gd name="T4" fmla="*/ 0 w 15"/>
                  <a:gd name="T5" fmla="*/ 0 h 49"/>
                  <a:gd name="T6" fmla="*/ 0 w 15"/>
                  <a:gd name="T7" fmla="*/ 0 h 49"/>
                  <a:gd name="T8" fmla="*/ 0 w 15"/>
                  <a:gd name="T9" fmla="*/ 0 h 49"/>
                  <a:gd name="T10" fmla="*/ 0 w 15"/>
                  <a:gd name="T11" fmla="*/ 0 h 49"/>
                  <a:gd name="T12" fmla="*/ 0 w 15"/>
                  <a:gd name="T13" fmla="*/ 0 h 49"/>
                  <a:gd name="T14" fmla="*/ 0 w 15"/>
                  <a:gd name="T15" fmla="*/ 0 h 49"/>
                  <a:gd name="T16" fmla="*/ 0 w 15"/>
                  <a:gd name="T17" fmla="*/ 0 h 49"/>
                  <a:gd name="T18" fmla="*/ 0 w 15"/>
                  <a:gd name="T19" fmla="*/ 0 h 49"/>
                  <a:gd name="T20" fmla="*/ 0 w 15"/>
                  <a:gd name="T21" fmla="*/ 0 h 49"/>
                  <a:gd name="T22" fmla="*/ 0 w 15"/>
                  <a:gd name="T23" fmla="*/ 0 h 49"/>
                  <a:gd name="T24" fmla="*/ 0 w 15"/>
                  <a:gd name="T25" fmla="*/ 1 h 49"/>
                  <a:gd name="T26" fmla="*/ 0 w 15"/>
                  <a:gd name="T27" fmla="*/ 1 h 49"/>
                  <a:gd name="T28" fmla="*/ 0 w 15"/>
                  <a:gd name="T29" fmla="*/ 1 h 49"/>
                  <a:gd name="T30" fmla="*/ 0 w 15"/>
                  <a:gd name="T31" fmla="*/ 1 h 49"/>
                  <a:gd name="T32" fmla="*/ 0 w 15"/>
                  <a:gd name="T33" fmla="*/ 1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7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0 w 47"/>
                  <a:gd name="T1" fmla="*/ 0 h 40"/>
                  <a:gd name="T2" fmla="*/ 0 w 47"/>
                  <a:gd name="T3" fmla="*/ 0 h 40"/>
                  <a:gd name="T4" fmla="*/ 0 w 47"/>
                  <a:gd name="T5" fmla="*/ 0 h 40"/>
                  <a:gd name="T6" fmla="*/ 0 w 47"/>
                  <a:gd name="T7" fmla="*/ 0 h 40"/>
                  <a:gd name="T8" fmla="*/ 0 w 47"/>
                  <a:gd name="T9" fmla="*/ 0 h 40"/>
                  <a:gd name="T10" fmla="*/ 0 w 47"/>
                  <a:gd name="T11" fmla="*/ 0 h 40"/>
                  <a:gd name="T12" fmla="*/ 0 w 47"/>
                  <a:gd name="T13" fmla="*/ 0 h 40"/>
                  <a:gd name="T14" fmla="*/ 0 w 47"/>
                  <a:gd name="T15" fmla="*/ 0 h 40"/>
                  <a:gd name="T16" fmla="*/ 0 w 47"/>
                  <a:gd name="T17" fmla="*/ 0 h 40"/>
                  <a:gd name="T18" fmla="*/ 1 w 47"/>
                  <a:gd name="T19" fmla="*/ 0 h 40"/>
                  <a:gd name="T20" fmla="*/ 1 w 47"/>
                  <a:gd name="T21" fmla="*/ 0 h 40"/>
                  <a:gd name="T22" fmla="*/ 0 w 47"/>
                  <a:gd name="T23" fmla="*/ 0 h 40"/>
                  <a:gd name="T24" fmla="*/ 0 w 47"/>
                  <a:gd name="T25" fmla="*/ 0 h 40"/>
                  <a:gd name="T26" fmla="*/ 0 w 47"/>
                  <a:gd name="T27" fmla="*/ 0 h 40"/>
                  <a:gd name="T28" fmla="*/ 0 w 47"/>
                  <a:gd name="T29" fmla="*/ 0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8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0 w 39"/>
                  <a:gd name="T3" fmla="*/ 0 h 31"/>
                  <a:gd name="T4" fmla="*/ 0 w 39"/>
                  <a:gd name="T5" fmla="*/ 0 h 31"/>
                  <a:gd name="T6" fmla="*/ 0 w 39"/>
                  <a:gd name="T7" fmla="*/ 0 h 31"/>
                  <a:gd name="T8" fmla="*/ 0 w 39"/>
                  <a:gd name="T9" fmla="*/ 0 h 31"/>
                  <a:gd name="T10" fmla="*/ 0 w 39"/>
                  <a:gd name="T11" fmla="*/ 0 h 31"/>
                  <a:gd name="T12" fmla="*/ 0 w 39"/>
                  <a:gd name="T13" fmla="*/ 0 h 31"/>
                  <a:gd name="T14" fmla="*/ 0 w 39"/>
                  <a:gd name="T15" fmla="*/ 0 h 31"/>
                  <a:gd name="T16" fmla="*/ 0 w 39"/>
                  <a:gd name="T17" fmla="*/ 0 h 31"/>
                  <a:gd name="T18" fmla="*/ 0 w 39"/>
                  <a:gd name="T19" fmla="*/ 0 h 31"/>
                  <a:gd name="T20" fmla="*/ 0 w 39"/>
                  <a:gd name="T21" fmla="*/ 0 h 31"/>
                  <a:gd name="T22" fmla="*/ 0 w 39"/>
                  <a:gd name="T23" fmla="*/ 0 h 31"/>
                  <a:gd name="T24" fmla="*/ 0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9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0 w 34"/>
                  <a:gd name="T3" fmla="*/ 0 h 19"/>
                  <a:gd name="T4" fmla="*/ 0 w 34"/>
                  <a:gd name="T5" fmla="*/ 0 h 19"/>
                  <a:gd name="T6" fmla="*/ 0 w 34"/>
                  <a:gd name="T7" fmla="*/ 0 h 19"/>
                  <a:gd name="T8" fmla="*/ 0 w 34"/>
                  <a:gd name="T9" fmla="*/ 0 h 19"/>
                  <a:gd name="T10" fmla="*/ 0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0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1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 w 126"/>
                  <a:gd name="T1" fmla="*/ 0 h 166"/>
                  <a:gd name="T2" fmla="*/ 1 w 126"/>
                  <a:gd name="T3" fmla="*/ 0 h 166"/>
                  <a:gd name="T4" fmla="*/ 1 w 126"/>
                  <a:gd name="T5" fmla="*/ 0 h 166"/>
                  <a:gd name="T6" fmla="*/ 2 w 126"/>
                  <a:gd name="T7" fmla="*/ 0 h 166"/>
                  <a:gd name="T8" fmla="*/ 2 w 126"/>
                  <a:gd name="T9" fmla="*/ 0 h 166"/>
                  <a:gd name="T10" fmla="*/ 2 w 126"/>
                  <a:gd name="T11" fmla="*/ 0 h 166"/>
                  <a:gd name="T12" fmla="*/ 2 w 126"/>
                  <a:gd name="T13" fmla="*/ 0 h 166"/>
                  <a:gd name="T14" fmla="*/ 2 w 126"/>
                  <a:gd name="T15" fmla="*/ 0 h 166"/>
                  <a:gd name="T16" fmla="*/ 1 w 126"/>
                  <a:gd name="T17" fmla="*/ 1 h 166"/>
                  <a:gd name="T18" fmla="*/ 1 w 126"/>
                  <a:gd name="T19" fmla="*/ 1 h 166"/>
                  <a:gd name="T20" fmla="*/ 1 w 126"/>
                  <a:gd name="T21" fmla="*/ 1 h 166"/>
                  <a:gd name="T22" fmla="*/ 1 w 126"/>
                  <a:gd name="T23" fmla="*/ 1 h 166"/>
                  <a:gd name="T24" fmla="*/ 1 w 126"/>
                  <a:gd name="T25" fmla="*/ 1 h 166"/>
                  <a:gd name="T26" fmla="*/ 1 w 126"/>
                  <a:gd name="T27" fmla="*/ 2 h 166"/>
                  <a:gd name="T28" fmla="*/ 0 w 126"/>
                  <a:gd name="T29" fmla="*/ 2 h 166"/>
                  <a:gd name="T30" fmla="*/ 0 w 126"/>
                  <a:gd name="T31" fmla="*/ 2 h 166"/>
                  <a:gd name="T32" fmla="*/ 0 w 126"/>
                  <a:gd name="T33" fmla="*/ 2 h 166"/>
                  <a:gd name="T34" fmla="*/ 0 w 126"/>
                  <a:gd name="T35" fmla="*/ 2 h 166"/>
                  <a:gd name="T36" fmla="*/ 0 w 126"/>
                  <a:gd name="T37" fmla="*/ 2 h 166"/>
                  <a:gd name="T38" fmla="*/ 0 w 126"/>
                  <a:gd name="T39" fmla="*/ 2 h 166"/>
                  <a:gd name="T40" fmla="*/ 0 w 126"/>
                  <a:gd name="T41" fmla="*/ 2 h 166"/>
                  <a:gd name="T42" fmla="*/ 0 w 126"/>
                  <a:gd name="T43" fmla="*/ 2 h 166"/>
                  <a:gd name="T44" fmla="*/ 0 w 126"/>
                  <a:gd name="T45" fmla="*/ 2 h 166"/>
                  <a:gd name="T46" fmla="*/ 0 w 126"/>
                  <a:gd name="T47" fmla="*/ 2 h 166"/>
                  <a:gd name="T48" fmla="*/ 0 w 126"/>
                  <a:gd name="T49" fmla="*/ 2 h 166"/>
                  <a:gd name="T50" fmla="*/ 0 w 126"/>
                  <a:gd name="T51" fmla="*/ 2 h 166"/>
                  <a:gd name="T52" fmla="*/ 0 w 126"/>
                  <a:gd name="T53" fmla="*/ 1 h 166"/>
                  <a:gd name="T54" fmla="*/ 0 w 126"/>
                  <a:gd name="T55" fmla="*/ 1 h 166"/>
                  <a:gd name="T56" fmla="*/ 0 w 126"/>
                  <a:gd name="T57" fmla="*/ 1 h 166"/>
                  <a:gd name="T58" fmla="*/ 0 w 126"/>
                  <a:gd name="T59" fmla="*/ 1 h 166"/>
                  <a:gd name="T60" fmla="*/ 1 w 126"/>
                  <a:gd name="T61" fmla="*/ 1 h 166"/>
                  <a:gd name="T62" fmla="*/ 1 w 126"/>
                  <a:gd name="T63" fmla="*/ 1 h 166"/>
                  <a:gd name="T64" fmla="*/ 1 w 126"/>
                  <a:gd name="T65" fmla="*/ 1 h 166"/>
                  <a:gd name="T66" fmla="*/ 1 w 126"/>
                  <a:gd name="T67" fmla="*/ 1 h 166"/>
                  <a:gd name="T68" fmla="*/ 1 w 126"/>
                  <a:gd name="T69" fmla="*/ 1 h 166"/>
                  <a:gd name="T70" fmla="*/ 1 w 126"/>
                  <a:gd name="T71" fmla="*/ 0 h 166"/>
                  <a:gd name="T72" fmla="*/ 1 w 126"/>
                  <a:gd name="T73" fmla="*/ 0 h 166"/>
                  <a:gd name="T74" fmla="*/ 1 w 126"/>
                  <a:gd name="T75" fmla="*/ 0 h 166"/>
                  <a:gd name="T76" fmla="*/ 1 w 126"/>
                  <a:gd name="T77" fmla="*/ 0 h 166"/>
                  <a:gd name="T78" fmla="*/ 1 w 126"/>
                  <a:gd name="T79" fmla="*/ 0 h 166"/>
                  <a:gd name="T80" fmla="*/ 1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2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0 w 259"/>
                  <a:gd name="T1" fmla="*/ 2 h 259"/>
                  <a:gd name="T2" fmla="*/ 0 w 259"/>
                  <a:gd name="T3" fmla="*/ 2 h 259"/>
                  <a:gd name="T4" fmla="*/ 0 w 259"/>
                  <a:gd name="T5" fmla="*/ 2 h 259"/>
                  <a:gd name="T6" fmla="*/ 0 w 259"/>
                  <a:gd name="T7" fmla="*/ 2 h 259"/>
                  <a:gd name="T8" fmla="*/ 0 w 259"/>
                  <a:gd name="T9" fmla="*/ 2 h 259"/>
                  <a:gd name="T10" fmla="*/ 0 w 259"/>
                  <a:gd name="T11" fmla="*/ 1 h 259"/>
                  <a:gd name="T12" fmla="*/ 1 w 259"/>
                  <a:gd name="T13" fmla="*/ 1 h 259"/>
                  <a:gd name="T14" fmla="*/ 1 w 259"/>
                  <a:gd name="T15" fmla="*/ 1 h 259"/>
                  <a:gd name="T16" fmla="*/ 1 w 259"/>
                  <a:gd name="T17" fmla="*/ 1 h 259"/>
                  <a:gd name="T18" fmla="*/ 1 w 259"/>
                  <a:gd name="T19" fmla="*/ 1 h 259"/>
                  <a:gd name="T20" fmla="*/ 1 w 259"/>
                  <a:gd name="T21" fmla="*/ 1 h 259"/>
                  <a:gd name="T22" fmla="*/ 1 w 259"/>
                  <a:gd name="T23" fmla="*/ 1 h 259"/>
                  <a:gd name="T24" fmla="*/ 1 w 259"/>
                  <a:gd name="T25" fmla="*/ 1 h 259"/>
                  <a:gd name="T26" fmla="*/ 1 w 259"/>
                  <a:gd name="T27" fmla="*/ 1 h 259"/>
                  <a:gd name="T28" fmla="*/ 2 w 259"/>
                  <a:gd name="T29" fmla="*/ 1 h 259"/>
                  <a:gd name="T30" fmla="*/ 2 w 259"/>
                  <a:gd name="T31" fmla="*/ 1 h 259"/>
                  <a:gd name="T32" fmla="*/ 2 w 259"/>
                  <a:gd name="T33" fmla="*/ 1 h 259"/>
                  <a:gd name="T34" fmla="*/ 2 w 259"/>
                  <a:gd name="T35" fmla="*/ 1 h 259"/>
                  <a:gd name="T36" fmla="*/ 2 w 259"/>
                  <a:gd name="T37" fmla="*/ 0 h 259"/>
                  <a:gd name="T38" fmla="*/ 2 w 259"/>
                  <a:gd name="T39" fmla="*/ 0 h 259"/>
                  <a:gd name="T40" fmla="*/ 2 w 259"/>
                  <a:gd name="T41" fmla="*/ 0 h 259"/>
                  <a:gd name="T42" fmla="*/ 3 w 259"/>
                  <a:gd name="T43" fmla="*/ 0 h 259"/>
                  <a:gd name="T44" fmla="*/ 3 w 259"/>
                  <a:gd name="T45" fmla="*/ 0 h 259"/>
                  <a:gd name="T46" fmla="*/ 3 w 259"/>
                  <a:gd name="T47" fmla="*/ 1 h 259"/>
                  <a:gd name="T48" fmla="*/ 3 w 259"/>
                  <a:gd name="T49" fmla="*/ 1 h 259"/>
                  <a:gd name="T50" fmla="*/ 3 w 259"/>
                  <a:gd name="T51" fmla="*/ 1 h 259"/>
                  <a:gd name="T52" fmla="*/ 3 w 259"/>
                  <a:gd name="T53" fmla="*/ 1 h 259"/>
                  <a:gd name="T54" fmla="*/ 3 w 259"/>
                  <a:gd name="T55" fmla="*/ 1 h 259"/>
                  <a:gd name="T56" fmla="*/ 3 w 259"/>
                  <a:gd name="T57" fmla="*/ 1 h 259"/>
                  <a:gd name="T58" fmla="*/ 3 w 259"/>
                  <a:gd name="T59" fmla="*/ 1 h 259"/>
                  <a:gd name="T60" fmla="*/ 3 w 259"/>
                  <a:gd name="T61" fmla="*/ 2 h 259"/>
                  <a:gd name="T62" fmla="*/ 3 w 259"/>
                  <a:gd name="T63" fmla="*/ 2 h 259"/>
                  <a:gd name="T64" fmla="*/ 3 w 259"/>
                  <a:gd name="T65" fmla="*/ 3 h 259"/>
                  <a:gd name="T66" fmla="*/ 3 w 259"/>
                  <a:gd name="T67" fmla="*/ 3 h 259"/>
                  <a:gd name="T68" fmla="*/ 3 w 259"/>
                  <a:gd name="T69" fmla="*/ 3 h 259"/>
                  <a:gd name="T70" fmla="*/ 3 w 259"/>
                  <a:gd name="T71" fmla="*/ 2 h 259"/>
                  <a:gd name="T72" fmla="*/ 3 w 259"/>
                  <a:gd name="T73" fmla="*/ 2 h 259"/>
                  <a:gd name="T74" fmla="*/ 2 w 259"/>
                  <a:gd name="T75" fmla="*/ 2 h 259"/>
                  <a:gd name="T76" fmla="*/ 2 w 259"/>
                  <a:gd name="T77" fmla="*/ 2 h 259"/>
                  <a:gd name="T78" fmla="*/ 2 w 259"/>
                  <a:gd name="T79" fmla="*/ 3 h 259"/>
                  <a:gd name="T80" fmla="*/ 2 w 259"/>
                  <a:gd name="T81" fmla="*/ 3 h 259"/>
                  <a:gd name="T82" fmla="*/ 1 w 259"/>
                  <a:gd name="T83" fmla="*/ 3 h 259"/>
                  <a:gd name="T84" fmla="*/ 1 w 259"/>
                  <a:gd name="T85" fmla="*/ 3 h 259"/>
                  <a:gd name="T86" fmla="*/ 1 w 259"/>
                  <a:gd name="T87" fmla="*/ 3 h 259"/>
                  <a:gd name="T88" fmla="*/ 1 w 259"/>
                  <a:gd name="T89" fmla="*/ 2 h 259"/>
                  <a:gd name="T90" fmla="*/ 1 w 259"/>
                  <a:gd name="T91" fmla="*/ 2 h 259"/>
                  <a:gd name="T92" fmla="*/ 1 w 259"/>
                  <a:gd name="T93" fmla="*/ 2 h 259"/>
                  <a:gd name="T94" fmla="*/ 1 w 259"/>
                  <a:gd name="T95" fmla="*/ 2 h 259"/>
                  <a:gd name="T96" fmla="*/ 1 w 259"/>
                  <a:gd name="T97" fmla="*/ 2 h 259"/>
                  <a:gd name="T98" fmla="*/ 0 w 259"/>
                  <a:gd name="T99" fmla="*/ 2 h 259"/>
                  <a:gd name="T100" fmla="*/ 0 w 259"/>
                  <a:gd name="T101" fmla="*/ 2 h 259"/>
                  <a:gd name="T102" fmla="*/ 0 w 259"/>
                  <a:gd name="T103" fmla="*/ 2 h 259"/>
                  <a:gd name="T104" fmla="*/ 0 w 259"/>
                  <a:gd name="T105" fmla="*/ 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3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1 w 72"/>
                  <a:gd name="T1" fmla="*/ 1 h 92"/>
                  <a:gd name="T2" fmla="*/ 1 w 72"/>
                  <a:gd name="T3" fmla="*/ 1 h 92"/>
                  <a:gd name="T4" fmla="*/ 1 w 72"/>
                  <a:gd name="T5" fmla="*/ 1 h 92"/>
                  <a:gd name="T6" fmla="*/ 1 w 72"/>
                  <a:gd name="T7" fmla="*/ 1 h 92"/>
                  <a:gd name="T8" fmla="*/ 1 w 72"/>
                  <a:gd name="T9" fmla="*/ 1 h 92"/>
                  <a:gd name="T10" fmla="*/ 1 w 72"/>
                  <a:gd name="T11" fmla="*/ 1 h 92"/>
                  <a:gd name="T12" fmla="*/ 0 w 72"/>
                  <a:gd name="T13" fmla="*/ 1 h 92"/>
                  <a:gd name="T14" fmla="*/ 0 w 72"/>
                  <a:gd name="T15" fmla="*/ 1 h 92"/>
                  <a:gd name="T16" fmla="*/ 0 w 72"/>
                  <a:gd name="T17" fmla="*/ 0 h 92"/>
                  <a:gd name="T18" fmla="*/ 0 w 72"/>
                  <a:gd name="T19" fmla="*/ 0 h 92"/>
                  <a:gd name="T20" fmla="*/ 0 w 72"/>
                  <a:gd name="T21" fmla="*/ 0 h 92"/>
                  <a:gd name="T22" fmla="*/ 0 w 72"/>
                  <a:gd name="T23" fmla="*/ 0 h 92"/>
                  <a:gd name="T24" fmla="*/ 0 w 72"/>
                  <a:gd name="T25" fmla="*/ 0 h 92"/>
                  <a:gd name="T26" fmla="*/ 0 w 72"/>
                  <a:gd name="T27" fmla="*/ 0 h 92"/>
                  <a:gd name="T28" fmla="*/ 1 w 72"/>
                  <a:gd name="T29" fmla="*/ 0 h 92"/>
                  <a:gd name="T30" fmla="*/ 1 w 72"/>
                  <a:gd name="T31" fmla="*/ 0 h 92"/>
                  <a:gd name="T32" fmla="*/ 1 w 72"/>
                  <a:gd name="T33" fmla="*/ 0 h 92"/>
                  <a:gd name="T34" fmla="*/ 1 w 72"/>
                  <a:gd name="T35" fmla="*/ 1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4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0 w 46"/>
                  <a:gd name="T1" fmla="*/ 0 h 62"/>
                  <a:gd name="T2" fmla="*/ 0 w 46"/>
                  <a:gd name="T3" fmla="*/ 0 h 62"/>
                  <a:gd name="T4" fmla="*/ 0 w 46"/>
                  <a:gd name="T5" fmla="*/ 0 h 62"/>
                  <a:gd name="T6" fmla="*/ 1 w 46"/>
                  <a:gd name="T7" fmla="*/ 0 h 62"/>
                  <a:gd name="T8" fmla="*/ 1 w 46"/>
                  <a:gd name="T9" fmla="*/ 0 h 62"/>
                  <a:gd name="T10" fmla="*/ 1 w 46"/>
                  <a:gd name="T11" fmla="*/ 0 h 62"/>
                  <a:gd name="T12" fmla="*/ 1 w 46"/>
                  <a:gd name="T13" fmla="*/ 0 h 62"/>
                  <a:gd name="T14" fmla="*/ 1 w 46"/>
                  <a:gd name="T15" fmla="*/ 0 h 62"/>
                  <a:gd name="T16" fmla="*/ 1 w 46"/>
                  <a:gd name="T17" fmla="*/ 0 h 62"/>
                  <a:gd name="T18" fmla="*/ 1 w 46"/>
                  <a:gd name="T19" fmla="*/ 1 h 62"/>
                  <a:gd name="T20" fmla="*/ 1 w 46"/>
                  <a:gd name="T21" fmla="*/ 1 h 62"/>
                  <a:gd name="T22" fmla="*/ 1 w 46"/>
                  <a:gd name="T23" fmla="*/ 1 h 62"/>
                  <a:gd name="T24" fmla="*/ 1 w 46"/>
                  <a:gd name="T25" fmla="*/ 1 h 62"/>
                  <a:gd name="T26" fmla="*/ 0 w 46"/>
                  <a:gd name="T27" fmla="*/ 1 h 62"/>
                  <a:gd name="T28" fmla="*/ 0 w 46"/>
                  <a:gd name="T29" fmla="*/ 1 h 62"/>
                  <a:gd name="T30" fmla="*/ 0 w 46"/>
                  <a:gd name="T31" fmla="*/ 1 h 62"/>
                  <a:gd name="T32" fmla="*/ 0 w 46"/>
                  <a:gd name="T33" fmla="*/ 1 h 62"/>
                  <a:gd name="T34" fmla="*/ 0 w 46"/>
                  <a:gd name="T35" fmla="*/ 1 h 62"/>
                  <a:gd name="T36" fmla="*/ 0 w 46"/>
                  <a:gd name="T37" fmla="*/ 1 h 62"/>
                  <a:gd name="T38" fmla="*/ 0 w 46"/>
                  <a:gd name="T39" fmla="*/ 1 h 62"/>
                  <a:gd name="T40" fmla="*/ 0 w 46"/>
                  <a:gd name="T41" fmla="*/ 1 h 62"/>
                  <a:gd name="T42" fmla="*/ 0 w 46"/>
                  <a:gd name="T43" fmla="*/ 1 h 62"/>
                  <a:gd name="T44" fmla="*/ 0 w 46"/>
                  <a:gd name="T45" fmla="*/ 1 h 62"/>
                  <a:gd name="T46" fmla="*/ 0 w 46"/>
                  <a:gd name="T47" fmla="*/ 0 h 62"/>
                  <a:gd name="T48" fmla="*/ 0 w 46"/>
                  <a:gd name="T49" fmla="*/ 0 h 62"/>
                  <a:gd name="T50" fmla="*/ 0 w 46"/>
                  <a:gd name="T51" fmla="*/ 0 h 62"/>
                  <a:gd name="T52" fmla="*/ 0 w 46"/>
                  <a:gd name="T53" fmla="*/ 0 h 62"/>
                  <a:gd name="T54" fmla="*/ 0 w 46"/>
                  <a:gd name="T55" fmla="*/ 0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5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 w 152"/>
                  <a:gd name="T1" fmla="*/ 0 h 296"/>
                  <a:gd name="T2" fmla="*/ 1 w 152"/>
                  <a:gd name="T3" fmla="*/ 0 h 296"/>
                  <a:gd name="T4" fmla="*/ 1 w 152"/>
                  <a:gd name="T5" fmla="*/ 0 h 296"/>
                  <a:gd name="T6" fmla="*/ 1 w 152"/>
                  <a:gd name="T7" fmla="*/ 0 h 296"/>
                  <a:gd name="T8" fmla="*/ 1 w 152"/>
                  <a:gd name="T9" fmla="*/ 0 h 296"/>
                  <a:gd name="T10" fmla="*/ 1 w 152"/>
                  <a:gd name="T11" fmla="*/ 0 h 296"/>
                  <a:gd name="T12" fmla="*/ 1 w 152"/>
                  <a:gd name="T13" fmla="*/ 0 h 296"/>
                  <a:gd name="T14" fmla="*/ 1 w 152"/>
                  <a:gd name="T15" fmla="*/ 0 h 296"/>
                  <a:gd name="T16" fmla="*/ 2 w 152"/>
                  <a:gd name="T17" fmla="*/ 1 h 296"/>
                  <a:gd name="T18" fmla="*/ 2 w 152"/>
                  <a:gd name="T19" fmla="*/ 1 h 296"/>
                  <a:gd name="T20" fmla="*/ 2 w 152"/>
                  <a:gd name="T21" fmla="*/ 1 h 296"/>
                  <a:gd name="T22" fmla="*/ 2 w 152"/>
                  <a:gd name="T23" fmla="*/ 1 h 296"/>
                  <a:gd name="T24" fmla="*/ 2 w 152"/>
                  <a:gd name="T25" fmla="*/ 1 h 296"/>
                  <a:gd name="T26" fmla="*/ 2 w 152"/>
                  <a:gd name="T27" fmla="*/ 2 h 296"/>
                  <a:gd name="T28" fmla="*/ 1 w 152"/>
                  <a:gd name="T29" fmla="*/ 2 h 296"/>
                  <a:gd name="T30" fmla="*/ 1 w 152"/>
                  <a:gd name="T31" fmla="*/ 2 h 296"/>
                  <a:gd name="T32" fmla="*/ 1 w 152"/>
                  <a:gd name="T33" fmla="*/ 2 h 296"/>
                  <a:gd name="T34" fmla="*/ 1 w 152"/>
                  <a:gd name="T35" fmla="*/ 3 h 296"/>
                  <a:gd name="T36" fmla="*/ 1 w 152"/>
                  <a:gd name="T37" fmla="*/ 3 h 296"/>
                  <a:gd name="T38" fmla="*/ 1 w 152"/>
                  <a:gd name="T39" fmla="*/ 3 h 296"/>
                  <a:gd name="T40" fmla="*/ 2 w 152"/>
                  <a:gd name="T41" fmla="*/ 3 h 296"/>
                  <a:gd name="T42" fmla="*/ 2 w 152"/>
                  <a:gd name="T43" fmla="*/ 3 h 296"/>
                  <a:gd name="T44" fmla="*/ 2 w 152"/>
                  <a:gd name="T45" fmla="*/ 3 h 296"/>
                  <a:gd name="T46" fmla="*/ 2 w 152"/>
                  <a:gd name="T47" fmla="*/ 3 h 296"/>
                  <a:gd name="T48" fmla="*/ 1 w 152"/>
                  <a:gd name="T49" fmla="*/ 4 h 296"/>
                  <a:gd name="T50" fmla="*/ 1 w 152"/>
                  <a:gd name="T51" fmla="*/ 4 h 296"/>
                  <a:gd name="T52" fmla="*/ 1 w 152"/>
                  <a:gd name="T53" fmla="*/ 4 h 296"/>
                  <a:gd name="T54" fmla="*/ 1 w 152"/>
                  <a:gd name="T55" fmla="*/ 3 h 296"/>
                  <a:gd name="T56" fmla="*/ 1 w 152"/>
                  <a:gd name="T57" fmla="*/ 3 h 296"/>
                  <a:gd name="T58" fmla="*/ 1 w 152"/>
                  <a:gd name="T59" fmla="*/ 3 h 296"/>
                  <a:gd name="T60" fmla="*/ 1 w 152"/>
                  <a:gd name="T61" fmla="*/ 3 h 296"/>
                  <a:gd name="T62" fmla="*/ 1 w 152"/>
                  <a:gd name="T63" fmla="*/ 3 h 296"/>
                  <a:gd name="T64" fmla="*/ 1 w 152"/>
                  <a:gd name="T65" fmla="*/ 3 h 296"/>
                  <a:gd name="T66" fmla="*/ 0 w 152"/>
                  <a:gd name="T67" fmla="*/ 3 h 296"/>
                  <a:gd name="T68" fmla="*/ 0 w 152"/>
                  <a:gd name="T69" fmla="*/ 3 h 296"/>
                  <a:gd name="T70" fmla="*/ 0 w 152"/>
                  <a:gd name="T71" fmla="*/ 3 h 296"/>
                  <a:gd name="T72" fmla="*/ 0 w 152"/>
                  <a:gd name="T73" fmla="*/ 2 h 296"/>
                  <a:gd name="T74" fmla="*/ 0 w 152"/>
                  <a:gd name="T75" fmla="*/ 2 h 296"/>
                  <a:gd name="T76" fmla="*/ 0 w 152"/>
                  <a:gd name="T77" fmla="*/ 2 h 296"/>
                  <a:gd name="T78" fmla="*/ 0 w 152"/>
                  <a:gd name="T79" fmla="*/ 2 h 296"/>
                  <a:gd name="T80" fmla="*/ 0 w 152"/>
                  <a:gd name="T81" fmla="*/ 1 h 296"/>
                  <a:gd name="T82" fmla="*/ 0 w 152"/>
                  <a:gd name="T83" fmla="*/ 1 h 296"/>
                  <a:gd name="T84" fmla="*/ 0 w 152"/>
                  <a:gd name="T85" fmla="*/ 0 h 296"/>
                  <a:gd name="T86" fmla="*/ 0 w 152"/>
                  <a:gd name="T87" fmla="*/ 0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6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0 w 26"/>
                  <a:gd name="T1" fmla="*/ 0 h 38"/>
                  <a:gd name="T2" fmla="*/ 0 w 26"/>
                  <a:gd name="T3" fmla="*/ 0 h 38"/>
                  <a:gd name="T4" fmla="*/ 0 w 26"/>
                  <a:gd name="T5" fmla="*/ 0 h 38"/>
                  <a:gd name="T6" fmla="*/ 0 w 26"/>
                  <a:gd name="T7" fmla="*/ 0 h 38"/>
                  <a:gd name="T8" fmla="*/ 0 w 26"/>
                  <a:gd name="T9" fmla="*/ 0 h 38"/>
                  <a:gd name="T10" fmla="*/ 0 w 26"/>
                  <a:gd name="T11" fmla="*/ 0 h 38"/>
                  <a:gd name="T12" fmla="*/ 0 w 26"/>
                  <a:gd name="T13" fmla="*/ 0 h 38"/>
                  <a:gd name="T14" fmla="*/ 0 w 26"/>
                  <a:gd name="T15" fmla="*/ 0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7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0 h 31"/>
                  <a:gd name="T2" fmla="*/ 0 w 34"/>
                  <a:gd name="T3" fmla="*/ 0 h 31"/>
                  <a:gd name="T4" fmla="*/ 0 w 34"/>
                  <a:gd name="T5" fmla="*/ 0 h 31"/>
                  <a:gd name="T6" fmla="*/ 0 w 34"/>
                  <a:gd name="T7" fmla="*/ 0 h 31"/>
                  <a:gd name="T8" fmla="*/ 0 w 34"/>
                  <a:gd name="T9" fmla="*/ 0 h 31"/>
                  <a:gd name="T10" fmla="*/ 0 w 34"/>
                  <a:gd name="T11" fmla="*/ 0 h 31"/>
                  <a:gd name="T12" fmla="*/ 0 w 34"/>
                  <a:gd name="T13" fmla="*/ 0 h 31"/>
                  <a:gd name="T14" fmla="*/ 0 w 34"/>
                  <a:gd name="T15" fmla="*/ 0 h 31"/>
                  <a:gd name="T16" fmla="*/ 0 w 34"/>
                  <a:gd name="T17" fmla="*/ 0 h 31"/>
                  <a:gd name="T18" fmla="*/ 0 w 34"/>
                  <a:gd name="T19" fmla="*/ 0 h 31"/>
                  <a:gd name="T20" fmla="*/ 0 w 34"/>
                  <a:gd name="T21" fmla="*/ 0 h 31"/>
                  <a:gd name="T22" fmla="*/ 0 w 34"/>
                  <a:gd name="T23" fmla="*/ 0 h 31"/>
                  <a:gd name="T24" fmla="*/ 0 w 34"/>
                  <a:gd name="T25" fmla="*/ 0 h 31"/>
                  <a:gd name="T26" fmla="*/ 0 w 34"/>
                  <a:gd name="T27" fmla="*/ 0 h 31"/>
                  <a:gd name="T28" fmla="*/ 0 w 34"/>
                  <a:gd name="T29" fmla="*/ 0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8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0 h 37"/>
                  <a:gd name="T2" fmla="*/ 0 w 20"/>
                  <a:gd name="T3" fmla="*/ 0 h 37"/>
                  <a:gd name="T4" fmla="*/ 0 w 20"/>
                  <a:gd name="T5" fmla="*/ 0 h 37"/>
                  <a:gd name="T6" fmla="*/ 0 w 20"/>
                  <a:gd name="T7" fmla="*/ 0 h 37"/>
                  <a:gd name="T8" fmla="*/ 0 w 20"/>
                  <a:gd name="T9" fmla="*/ 0 h 37"/>
                  <a:gd name="T10" fmla="*/ 0 w 20"/>
                  <a:gd name="T11" fmla="*/ 0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9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0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1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2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0 w 27"/>
                  <a:gd name="T3" fmla="*/ 0 h 31"/>
                  <a:gd name="T4" fmla="*/ 0 w 27"/>
                  <a:gd name="T5" fmla="*/ 0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3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4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0 h 13"/>
                  <a:gd name="T2" fmla="*/ 0 w 34"/>
                  <a:gd name="T3" fmla="*/ 0 h 13"/>
                  <a:gd name="T4" fmla="*/ 0 w 34"/>
                  <a:gd name="T5" fmla="*/ 0 h 13"/>
                  <a:gd name="T6" fmla="*/ 0 w 34"/>
                  <a:gd name="T7" fmla="*/ 0 h 13"/>
                  <a:gd name="T8" fmla="*/ 0 w 34"/>
                  <a:gd name="T9" fmla="*/ 0 h 13"/>
                  <a:gd name="T10" fmla="*/ 0 w 34"/>
                  <a:gd name="T11" fmla="*/ 0 h 13"/>
                  <a:gd name="T12" fmla="*/ 0 w 34"/>
                  <a:gd name="T13" fmla="*/ 0 h 13"/>
                  <a:gd name="T14" fmla="*/ 0 w 34"/>
                  <a:gd name="T15" fmla="*/ 0 h 13"/>
                  <a:gd name="T16" fmla="*/ 0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5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0 w 34"/>
                  <a:gd name="T1" fmla="*/ 0 h 18"/>
                  <a:gd name="T2" fmla="*/ 0 w 34"/>
                  <a:gd name="T3" fmla="*/ 0 h 18"/>
                  <a:gd name="T4" fmla="*/ 0 w 34"/>
                  <a:gd name="T5" fmla="*/ 0 h 18"/>
                  <a:gd name="T6" fmla="*/ 0 w 34"/>
                  <a:gd name="T7" fmla="*/ 0 h 18"/>
                  <a:gd name="T8" fmla="*/ 0 w 34"/>
                  <a:gd name="T9" fmla="*/ 0 h 18"/>
                  <a:gd name="T10" fmla="*/ 0 w 34"/>
                  <a:gd name="T11" fmla="*/ 0 h 18"/>
                  <a:gd name="T12" fmla="*/ 0 w 34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6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 w 59"/>
                  <a:gd name="T1" fmla="*/ 0 h 25"/>
                  <a:gd name="T2" fmla="*/ 1 w 59"/>
                  <a:gd name="T3" fmla="*/ 0 h 25"/>
                  <a:gd name="T4" fmla="*/ 1 w 59"/>
                  <a:gd name="T5" fmla="*/ 0 h 25"/>
                  <a:gd name="T6" fmla="*/ 1 w 59"/>
                  <a:gd name="T7" fmla="*/ 0 h 25"/>
                  <a:gd name="T8" fmla="*/ 0 w 59"/>
                  <a:gd name="T9" fmla="*/ 0 h 25"/>
                  <a:gd name="T10" fmla="*/ 0 w 59"/>
                  <a:gd name="T11" fmla="*/ 0 h 25"/>
                  <a:gd name="T12" fmla="*/ 0 w 59"/>
                  <a:gd name="T13" fmla="*/ 0 h 25"/>
                  <a:gd name="T14" fmla="*/ 0 w 59"/>
                  <a:gd name="T15" fmla="*/ 0 h 25"/>
                  <a:gd name="T16" fmla="*/ 0 w 59"/>
                  <a:gd name="T17" fmla="*/ 0 h 25"/>
                  <a:gd name="T18" fmla="*/ 0 w 59"/>
                  <a:gd name="T19" fmla="*/ 0 h 25"/>
                  <a:gd name="T20" fmla="*/ 0 w 59"/>
                  <a:gd name="T21" fmla="*/ 0 h 25"/>
                  <a:gd name="T22" fmla="*/ 0 w 59"/>
                  <a:gd name="T23" fmla="*/ 0 h 25"/>
                  <a:gd name="T24" fmla="*/ 0 w 59"/>
                  <a:gd name="T25" fmla="*/ 0 h 25"/>
                  <a:gd name="T26" fmla="*/ 1 w 59"/>
                  <a:gd name="T27" fmla="*/ 0 h 25"/>
                  <a:gd name="T28" fmla="*/ 1 w 59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7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298" name="Freeform 341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4770958" y="2850204"/>
              <a:ext cx="53975" cy="60325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9" name="Freeform 342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3227908" y="2254892"/>
              <a:ext cx="220663" cy="177800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0" name="Freeform 343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3291408" y="2459679"/>
              <a:ext cx="146050" cy="71438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1" name="Freeform 344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391421" y="2115192"/>
              <a:ext cx="111125" cy="65087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2" name="Freeform 345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404121" y="2462854"/>
              <a:ext cx="179387" cy="142875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3" name="Freeform 347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508896" y="2454917"/>
              <a:ext cx="85725" cy="79375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4" name="Freeform 348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426346" y="2337442"/>
              <a:ext cx="381000" cy="247650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5" name="Freeform 349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937521" y="2680342"/>
              <a:ext cx="47625" cy="63500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6" name="Freeform 350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4480446" y="2694629"/>
              <a:ext cx="207962" cy="122238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7" name="Freeform 351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4529658" y="2623192"/>
              <a:ext cx="225425" cy="125412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8" name="Freeform 352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4135958" y="2639067"/>
              <a:ext cx="342900" cy="227012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9" name="Freeform 353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3345383" y="2526354"/>
              <a:ext cx="107950" cy="139700"/>
            </a:xfrm>
            <a:custGeom>
              <a:avLst/>
              <a:gdLst>
                <a:gd name="T0" fmla="*/ 142170 w 10000"/>
                <a:gd name="T1" fmla="*/ 198863 h 10000"/>
                <a:gd name="T2" fmla="*/ 123171 w 10000"/>
                <a:gd name="T3" fmla="*/ 162178 h 10000"/>
                <a:gd name="T4" fmla="*/ 94737 w 10000"/>
                <a:gd name="T5" fmla="*/ 44103 h 10000"/>
                <a:gd name="T6" fmla="*/ 236907 w 10000"/>
                <a:gd name="T7" fmla="*/ 22254 h 10000"/>
                <a:gd name="T8" fmla="*/ 412175 w 10000"/>
                <a:gd name="T9" fmla="*/ 0 h 10000"/>
                <a:gd name="T10" fmla="*/ 601659 w 10000"/>
                <a:gd name="T11" fmla="*/ 162178 h 10000"/>
                <a:gd name="T12" fmla="*/ 639528 w 10000"/>
                <a:gd name="T13" fmla="*/ 287279 h 10000"/>
                <a:gd name="T14" fmla="*/ 686843 w 10000"/>
                <a:gd name="T15" fmla="*/ 383099 h 10000"/>
                <a:gd name="T16" fmla="*/ 743711 w 10000"/>
                <a:gd name="T17" fmla="*/ 456679 h 10000"/>
                <a:gd name="T18" fmla="*/ 843230 w 10000"/>
                <a:gd name="T19" fmla="*/ 566945 h 10000"/>
                <a:gd name="T20" fmla="*/ 937967 w 10000"/>
                <a:gd name="T21" fmla="*/ 692241 h 10000"/>
                <a:gd name="T22" fmla="*/ 990053 w 10000"/>
                <a:gd name="T23" fmla="*/ 802898 h 10000"/>
                <a:gd name="T24" fmla="*/ 1042149 w 10000"/>
                <a:gd name="T25" fmla="*/ 861837 h 10000"/>
                <a:gd name="T26" fmla="*/ 1056366 w 10000"/>
                <a:gd name="T27" fmla="*/ 891104 h 10000"/>
                <a:gd name="T28" fmla="*/ 1042149 w 10000"/>
                <a:gd name="T29" fmla="*/ 927985 h 10000"/>
                <a:gd name="T30" fmla="*/ 1056366 w 10000"/>
                <a:gd name="T31" fmla="*/ 994538 h 10000"/>
                <a:gd name="T32" fmla="*/ 1108452 w 10000"/>
                <a:gd name="T33" fmla="*/ 1075341 h 10000"/>
                <a:gd name="T34" fmla="*/ 1141668 w 10000"/>
                <a:gd name="T35" fmla="*/ 1163547 h 10000"/>
                <a:gd name="T36" fmla="*/ 1160538 w 10000"/>
                <a:gd name="T37" fmla="*/ 1229709 h 10000"/>
                <a:gd name="T38" fmla="*/ 1160538 w 10000"/>
                <a:gd name="T39" fmla="*/ 1318503 h 10000"/>
                <a:gd name="T40" fmla="*/ 1122669 w 10000"/>
                <a:gd name="T41" fmla="*/ 1392083 h 10000"/>
                <a:gd name="T42" fmla="*/ 1075355 w 10000"/>
                <a:gd name="T43" fmla="*/ 1443604 h 10000"/>
                <a:gd name="T44" fmla="*/ 1046921 w 10000"/>
                <a:gd name="T45" fmla="*/ 1480094 h 10000"/>
                <a:gd name="T46" fmla="*/ 961619 w 10000"/>
                <a:gd name="T47" fmla="*/ 1539424 h 10000"/>
                <a:gd name="T48" fmla="*/ 833665 w 10000"/>
                <a:gd name="T49" fmla="*/ 1635063 h 10000"/>
                <a:gd name="T50" fmla="*/ 658409 w 10000"/>
                <a:gd name="T51" fmla="*/ 1811685 h 10000"/>
                <a:gd name="T52" fmla="*/ 468924 w 10000"/>
                <a:gd name="T53" fmla="*/ 1818894 h 10000"/>
                <a:gd name="T54" fmla="*/ 393175 w 10000"/>
                <a:gd name="T55" fmla="*/ 1657303 h 10000"/>
                <a:gd name="T56" fmla="*/ 359970 w 10000"/>
                <a:gd name="T57" fmla="*/ 1598168 h 10000"/>
                <a:gd name="T58" fmla="*/ 312656 w 10000"/>
                <a:gd name="T59" fmla="*/ 1590946 h 10000"/>
                <a:gd name="T60" fmla="*/ 270005 w 10000"/>
                <a:gd name="T61" fmla="*/ 1612809 h 10000"/>
                <a:gd name="T62" fmla="*/ 180039 w 10000"/>
                <a:gd name="T63" fmla="*/ 1126667 h 10000"/>
                <a:gd name="T64" fmla="*/ 0 w 10000"/>
                <a:gd name="T65" fmla="*/ 456679 h 1000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0000" h="10000">
                  <a:moveTo>
                    <a:pt x="1341" y="1660"/>
                  </a:moveTo>
                  <a:cubicBezTo>
                    <a:pt x="1301" y="1447"/>
                    <a:pt x="1260" y="1233"/>
                    <a:pt x="1220" y="1019"/>
                  </a:cubicBezTo>
                  <a:cubicBezTo>
                    <a:pt x="1192" y="981"/>
                    <a:pt x="1165" y="943"/>
                    <a:pt x="1138" y="905"/>
                  </a:cubicBezTo>
                  <a:cubicBezTo>
                    <a:pt x="1112" y="881"/>
                    <a:pt x="1084" y="855"/>
                    <a:pt x="1057" y="831"/>
                  </a:cubicBezTo>
                  <a:cubicBezTo>
                    <a:pt x="1030" y="768"/>
                    <a:pt x="1003" y="704"/>
                    <a:pt x="976" y="642"/>
                  </a:cubicBezTo>
                  <a:cubicBezTo>
                    <a:pt x="922" y="502"/>
                    <a:pt x="867" y="365"/>
                    <a:pt x="813" y="226"/>
                  </a:cubicBezTo>
                  <a:lnTo>
                    <a:pt x="1424" y="189"/>
                  </a:lnTo>
                  <a:lnTo>
                    <a:pt x="2033" y="114"/>
                  </a:lnTo>
                  <a:lnTo>
                    <a:pt x="2724" y="38"/>
                  </a:lnTo>
                  <a:lnTo>
                    <a:pt x="3537" y="0"/>
                  </a:lnTo>
                  <a:lnTo>
                    <a:pt x="5122" y="453"/>
                  </a:lnTo>
                  <a:cubicBezTo>
                    <a:pt x="5136" y="579"/>
                    <a:pt x="5149" y="706"/>
                    <a:pt x="5163" y="831"/>
                  </a:cubicBezTo>
                  <a:lnTo>
                    <a:pt x="5325" y="1132"/>
                  </a:lnTo>
                  <a:lnTo>
                    <a:pt x="5488" y="1472"/>
                  </a:lnTo>
                  <a:lnTo>
                    <a:pt x="5650" y="1736"/>
                  </a:lnTo>
                  <a:lnTo>
                    <a:pt x="5894" y="1963"/>
                  </a:lnTo>
                  <a:lnTo>
                    <a:pt x="6138" y="2151"/>
                  </a:lnTo>
                  <a:lnTo>
                    <a:pt x="6382" y="2340"/>
                  </a:lnTo>
                  <a:lnTo>
                    <a:pt x="6707" y="2528"/>
                  </a:lnTo>
                  <a:lnTo>
                    <a:pt x="7236" y="2905"/>
                  </a:lnTo>
                  <a:lnTo>
                    <a:pt x="7764" y="3283"/>
                  </a:lnTo>
                  <a:lnTo>
                    <a:pt x="8049" y="3547"/>
                  </a:lnTo>
                  <a:cubicBezTo>
                    <a:pt x="8117" y="3635"/>
                    <a:pt x="8184" y="3723"/>
                    <a:pt x="8252" y="3812"/>
                  </a:cubicBezTo>
                  <a:lnTo>
                    <a:pt x="8496" y="4114"/>
                  </a:lnTo>
                  <a:cubicBezTo>
                    <a:pt x="8537" y="4214"/>
                    <a:pt x="8577" y="4315"/>
                    <a:pt x="8618" y="4416"/>
                  </a:cubicBezTo>
                  <a:lnTo>
                    <a:pt x="8943" y="4416"/>
                  </a:lnTo>
                  <a:lnTo>
                    <a:pt x="9187" y="4416"/>
                  </a:lnTo>
                  <a:lnTo>
                    <a:pt x="9065" y="4566"/>
                  </a:lnTo>
                  <a:cubicBezTo>
                    <a:pt x="9038" y="4604"/>
                    <a:pt x="9012" y="4641"/>
                    <a:pt x="8984" y="4679"/>
                  </a:cubicBezTo>
                  <a:cubicBezTo>
                    <a:pt x="8970" y="4705"/>
                    <a:pt x="8957" y="4730"/>
                    <a:pt x="8943" y="4755"/>
                  </a:cubicBezTo>
                  <a:cubicBezTo>
                    <a:pt x="8957" y="4793"/>
                    <a:pt x="8970" y="4831"/>
                    <a:pt x="8984" y="4869"/>
                  </a:cubicBezTo>
                  <a:cubicBezTo>
                    <a:pt x="9011" y="4944"/>
                    <a:pt x="9038" y="5019"/>
                    <a:pt x="9065" y="5096"/>
                  </a:cubicBezTo>
                  <a:lnTo>
                    <a:pt x="9268" y="5283"/>
                  </a:lnTo>
                  <a:lnTo>
                    <a:pt x="9512" y="5510"/>
                  </a:lnTo>
                  <a:cubicBezTo>
                    <a:pt x="9580" y="5610"/>
                    <a:pt x="9647" y="5712"/>
                    <a:pt x="9715" y="5812"/>
                  </a:cubicBezTo>
                  <a:cubicBezTo>
                    <a:pt x="9742" y="5863"/>
                    <a:pt x="9770" y="5912"/>
                    <a:pt x="9797" y="5962"/>
                  </a:cubicBezTo>
                  <a:cubicBezTo>
                    <a:pt x="9838" y="6012"/>
                    <a:pt x="9878" y="6064"/>
                    <a:pt x="9919" y="6114"/>
                  </a:cubicBezTo>
                  <a:cubicBezTo>
                    <a:pt x="9932" y="6176"/>
                    <a:pt x="9946" y="6239"/>
                    <a:pt x="9959" y="6301"/>
                  </a:cubicBezTo>
                  <a:cubicBezTo>
                    <a:pt x="9973" y="6378"/>
                    <a:pt x="9986" y="6453"/>
                    <a:pt x="10000" y="6529"/>
                  </a:cubicBezTo>
                  <a:cubicBezTo>
                    <a:pt x="9986" y="6604"/>
                    <a:pt x="9973" y="6680"/>
                    <a:pt x="9959" y="6756"/>
                  </a:cubicBezTo>
                  <a:lnTo>
                    <a:pt x="9797" y="6943"/>
                  </a:lnTo>
                  <a:cubicBezTo>
                    <a:pt x="9743" y="7007"/>
                    <a:pt x="9688" y="7069"/>
                    <a:pt x="9634" y="7133"/>
                  </a:cubicBezTo>
                  <a:lnTo>
                    <a:pt x="9472" y="7247"/>
                  </a:lnTo>
                  <a:lnTo>
                    <a:pt x="9228" y="7397"/>
                  </a:lnTo>
                  <a:lnTo>
                    <a:pt x="9065" y="7473"/>
                  </a:lnTo>
                  <a:cubicBezTo>
                    <a:pt x="9038" y="7510"/>
                    <a:pt x="9011" y="7546"/>
                    <a:pt x="8984" y="7584"/>
                  </a:cubicBezTo>
                  <a:cubicBezTo>
                    <a:pt x="8970" y="7622"/>
                    <a:pt x="8957" y="7660"/>
                    <a:pt x="8943" y="7698"/>
                  </a:cubicBezTo>
                  <a:lnTo>
                    <a:pt x="8252" y="7888"/>
                  </a:lnTo>
                  <a:lnTo>
                    <a:pt x="7683" y="8113"/>
                  </a:lnTo>
                  <a:lnTo>
                    <a:pt x="7154" y="8378"/>
                  </a:lnTo>
                  <a:lnTo>
                    <a:pt x="6667" y="8680"/>
                  </a:lnTo>
                  <a:lnTo>
                    <a:pt x="5650" y="9283"/>
                  </a:lnTo>
                  <a:lnTo>
                    <a:pt x="4593" y="10000"/>
                  </a:lnTo>
                  <a:lnTo>
                    <a:pt x="4024" y="9320"/>
                  </a:lnTo>
                  <a:lnTo>
                    <a:pt x="3577" y="8717"/>
                  </a:lnTo>
                  <a:lnTo>
                    <a:pt x="3374" y="8492"/>
                  </a:lnTo>
                  <a:lnTo>
                    <a:pt x="3212" y="8301"/>
                  </a:lnTo>
                  <a:lnTo>
                    <a:pt x="3089" y="8189"/>
                  </a:lnTo>
                  <a:lnTo>
                    <a:pt x="2927" y="8152"/>
                  </a:lnTo>
                  <a:lnTo>
                    <a:pt x="2683" y="8152"/>
                  </a:lnTo>
                  <a:lnTo>
                    <a:pt x="2439" y="8189"/>
                  </a:lnTo>
                  <a:cubicBezTo>
                    <a:pt x="2398" y="8214"/>
                    <a:pt x="2358" y="8240"/>
                    <a:pt x="2317" y="8264"/>
                  </a:cubicBezTo>
                  <a:cubicBezTo>
                    <a:pt x="2121" y="7912"/>
                    <a:pt x="1389" y="6491"/>
                    <a:pt x="1260" y="6076"/>
                  </a:cubicBezTo>
                  <a:lnTo>
                    <a:pt x="1545" y="5773"/>
                  </a:lnTo>
                  <a:lnTo>
                    <a:pt x="1870" y="5321"/>
                  </a:lnTo>
                  <a:lnTo>
                    <a:pt x="0" y="2340"/>
                  </a:lnTo>
                  <a:lnTo>
                    <a:pt x="1341" y="166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0" name="Freeform 354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3393008" y="2634304"/>
              <a:ext cx="68263" cy="60325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1" name="Freeform 355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477146" y="3258192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2" name="Freeform 357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3969271" y="3585217"/>
              <a:ext cx="38100" cy="58737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3" name="Freeform 358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767658" y="3496317"/>
              <a:ext cx="363538" cy="376237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4" name="Freeform 383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477146" y="3258192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5" name="Freeform 436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3273946" y="3251842"/>
              <a:ext cx="249237" cy="500062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srgbClr val="92D050"/>
                </a:solidFill>
                <a:latin typeface="Calibri"/>
              </a:endParaRPr>
            </a:p>
          </p:txBody>
        </p:sp>
        <p:sp>
          <p:nvSpPr>
            <p:cNvPr id="316" name="Freeform 437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950650" y="2609698"/>
              <a:ext cx="15875" cy="57150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7" name="Freeform 442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959746" y="2647004"/>
              <a:ext cx="123825" cy="109538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8" name="Freeform 443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426346" y="2219967"/>
              <a:ext cx="209550" cy="15081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9" name="Freeform 444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283471" y="2551754"/>
              <a:ext cx="82550" cy="87313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0" name="Freeform 446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3442221" y="2586679"/>
              <a:ext cx="133350" cy="96838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1" name="Freeform 447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2797696" y="3513779"/>
              <a:ext cx="177800" cy="16510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2" name="Freeform 449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5596458" y="3340742"/>
              <a:ext cx="55563" cy="57150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3" name="Freeform 452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235846" y="2515242"/>
              <a:ext cx="127000" cy="114300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4" name="Freeform 453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186633" y="2373954"/>
              <a:ext cx="168275" cy="77788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5" name="Freeform 454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150121" y="2229492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6" name="Freeform 455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3121546" y="2234254"/>
              <a:ext cx="25400" cy="58738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7" name="Freeform 456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3091383" y="2180279"/>
              <a:ext cx="52388" cy="77788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8" name="Freeform 457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3523183" y="2985142"/>
              <a:ext cx="273050" cy="307975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9" name="Freeform 458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3118371" y="2620017"/>
              <a:ext cx="17462" cy="57150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0" name="Freeform 459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2819920" y="2361254"/>
              <a:ext cx="295275" cy="273050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1" name="Freeform 460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3839096" y="2605729"/>
              <a:ext cx="150812" cy="82550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2" name="Freeform 461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3388246" y="2666054"/>
              <a:ext cx="147637" cy="173038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92D05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3" name="Freeform 462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3472383" y="2858142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4" name="Freeform 463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2551633" y="3589979"/>
              <a:ext cx="187325" cy="158750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5" name="Freeform 464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4596333" y="2853379"/>
              <a:ext cx="692150" cy="874713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6" name="Freeform 465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2718321" y="3648717"/>
              <a:ext cx="158750" cy="206375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7" name="Freeform 467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3769246" y="2929579"/>
              <a:ext cx="101600" cy="130175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8" name="Freeform 468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067696" y="3032767"/>
              <a:ext cx="22225" cy="55562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9" name="Freeform 469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3354908" y="2167579"/>
              <a:ext cx="161925" cy="66675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0" name="Freeform 470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3766071" y="2888304"/>
              <a:ext cx="30162" cy="57150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1" name="Freeform 472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3353321" y="2215204"/>
              <a:ext cx="131762" cy="84138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2" name="Freeform 473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057280" y="2389567"/>
              <a:ext cx="22913" cy="48419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3" name="Freeform 47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248546" y="2856554"/>
              <a:ext cx="14287" cy="5715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4" name="Freeform 479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496071" y="3456629"/>
              <a:ext cx="161925" cy="14128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5" name="Freeform 481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6233046" y="2532704"/>
              <a:ext cx="19050" cy="57150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6" name="Freeform 482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6091758" y="2534292"/>
              <a:ext cx="141288" cy="125412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7" name="Freeform 483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6061596" y="2888304"/>
              <a:ext cx="52387" cy="57150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8" name="Freeform 484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6007621" y="2902592"/>
              <a:ext cx="60325" cy="84137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9" name="Freeform 485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6023496" y="2664467"/>
              <a:ext cx="209550" cy="244475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0" name="Freeform 486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607321" y="1554804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1" name="Freeform 487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750196" y="1537342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2" name="Freeform 488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786708" y="1545279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3" name="Freeform 489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4320108" y="1731017"/>
              <a:ext cx="41275" cy="57150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4" name="Freeform 490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4229621" y="1589729"/>
              <a:ext cx="15875" cy="58738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5" name="Freeform 491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4251846" y="1548454"/>
              <a:ext cx="14287" cy="60325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6" name="Freeform 492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4396308" y="1664342"/>
              <a:ext cx="17463" cy="57150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7" name="Freeform 493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4450283" y="1548454"/>
              <a:ext cx="93663" cy="60325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8" name="Freeform 494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4510608" y="1573854"/>
              <a:ext cx="103188" cy="60325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9" name="Freeform 495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4628083" y="1588142"/>
              <a:ext cx="82550" cy="57150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0" name="Freeform 496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5155133" y="1713554"/>
              <a:ext cx="79375" cy="58738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1" name="Freeform 497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5221808" y="1731017"/>
              <a:ext cx="33338" cy="57150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2" name="Freeform 498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5251971" y="1742129"/>
              <a:ext cx="52387" cy="58738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3" name="Freeform 499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5023371" y="1715142"/>
              <a:ext cx="61912" cy="58737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4" name="Freeform 500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5323408" y="1656404"/>
              <a:ext cx="139700" cy="57150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5" name="Freeform 501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5483746" y="1664342"/>
              <a:ext cx="95250" cy="57150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6" name="Freeform 502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5444058" y="1711967"/>
              <a:ext cx="63500" cy="58737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7" name="Freeform 503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5423421" y="1708792"/>
              <a:ext cx="20637" cy="58737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8" name="Line 504"/>
            <p:cNvSpPr>
              <a:spLocks noChangeShapeType="1"/>
            </p:cNvSpPr>
            <p:nvPr>
              <p:custDataLst>
                <p:tags r:id="rId147"/>
              </p:custDataLst>
            </p:nvPr>
          </p:nvSpPr>
          <p:spPr bwMode="auto">
            <a:xfrm flipV="1">
              <a:off x="5425008" y="1707204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9" name="Freeform 505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4594746" y="1635767"/>
              <a:ext cx="11112" cy="55562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0" name="Freeform 506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5344046" y="1707204"/>
              <a:ext cx="9525" cy="57150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1" name="Freeform 507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5298008" y="1670692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2" name="Freeform 508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5798071" y="2240604"/>
              <a:ext cx="12700" cy="58738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3" name="Freeform 509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6091758" y="1762767"/>
              <a:ext cx="55563" cy="58737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4" name="Freeform 510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6228283" y="2115192"/>
              <a:ext cx="14288" cy="57150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5" name="Freeform 513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6293371" y="2370779"/>
              <a:ext cx="14287" cy="57150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6" name="Freeform 514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6304483" y="2399354"/>
              <a:ext cx="3175" cy="60325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7" name="Freeform 515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6291783" y="2481904"/>
              <a:ext cx="9525" cy="55563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8" name="Freeform 516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6269558" y="2516829"/>
              <a:ext cx="0" cy="58738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9" name="Freeform 517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6269558" y="2516829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0" name="Freeform 518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023496" y="2104079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1" name="Freeform 519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339033" y="2243779"/>
              <a:ext cx="47625" cy="58738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2" name="Freeform 520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8296" y="1835792"/>
              <a:ext cx="42862" cy="58737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3" name="Freeform 521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823221" y="1648467"/>
              <a:ext cx="228600" cy="163512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4" name="Freeform 522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615258" y="1959617"/>
              <a:ext cx="31750" cy="55562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5" name="Freeform 523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920308" y="2256479"/>
              <a:ext cx="196850" cy="268288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386" name="Group 524"/>
            <p:cNvGrpSpPr>
              <a:grpSpLocks/>
            </p:cNvGrpSpPr>
            <p:nvPr>
              <p:custDataLst>
                <p:tags r:id="rId165"/>
              </p:custDataLst>
            </p:nvPr>
          </p:nvGrpSpPr>
          <p:grpSpPr bwMode="auto">
            <a:xfrm>
              <a:off x="4710633" y="2212029"/>
              <a:ext cx="671513" cy="384175"/>
              <a:chOff x="4115" y="1551"/>
              <a:chExt cx="504" cy="244"/>
            </a:xfrm>
          </p:grpSpPr>
          <p:sp>
            <p:nvSpPr>
              <p:cNvPr id="412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3 h 259"/>
                  <a:gd name="T2" fmla="*/ 1 w 240"/>
                  <a:gd name="T3" fmla="*/ 3 h 259"/>
                  <a:gd name="T4" fmla="*/ 1 w 240"/>
                  <a:gd name="T5" fmla="*/ 3 h 259"/>
                  <a:gd name="T6" fmla="*/ 2 w 240"/>
                  <a:gd name="T7" fmla="*/ 3 h 259"/>
                  <a:gd name="T8" fmla="*/ 2 w 240"/>
                  <a:gd name="T9" fmla="*/ 2 h 259"/>
                  <a:gd name="T10" fmla="*/ 3 w 240"/>
                  <a:gd name="T11" fmla="*/ 1 h 259"/>
                  <a:gd name="T12" fmla="*/ 3 w 240"/>
                  <a:gd name="T13" fmla="*/ 0 h 259"/>
                  <a:gd name="T14" fmla="*/ 3 w 240"/>
                  <a:gd name="T15" fmla="*/ 0 h 259"/>
                  <a:gd name="T16" fmla="*/ 2 w 240"/>
                  <a:gd name="T17" fmla="*/ 0 h 259"/>
                  <a:gd name="T18" fmla="*/ 2 w 240"/>
                  <a:gd name="T19" fmla="*/ 1 h 259"/>
                  <a:gd name="T20" fmla="*/ 2 w 240"/>
                  <a:gd name="T21" fmla="*/ 1 h 259"/>
                  <a:gd name="T22" fmla="*/ 2 w 240"/>
                  <a:gd name="T23" fmla="*/ 2 h 259"/>
                  <a:gd name="T24" fmla="*/ 1 w 240"/>
                  <a:gd name="T25" fmla="*/ 2 h 259"/>
                  <a:gd name="T26" fmla="*/ 1 w 240"/>
                  <a:gd name="T27" fmla="*/ 3 h 259"/>
                  <a:gd name="T28" fmla="*/ 0 w 240"/>
                  <a:gd name="T29" fmla="*/ 3 h 259"/>
                  <a:gd name="T30" fmla="*/ 0 w 240"/>
                  <a:gd name="T31" fmla="*/ 3 h 259"/>
                  <a:gd name="T32" fmla="*/ 0 w 240"/>
                  <a:gd name="T33" fmla="*/ 3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3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1 h 104"/>
                  <a:gd name="T2" fmla="*/ 0 w 259"/>
                  <a:gd name="T3" fmla="*/ 1 h 104"/>
                  <a:gd name="T4" fmla="*/ 1 w 259"/>
                  <a:gd name="T5" fmla="*/ 1 h 104"/>
                  <a:gd name="T6" fmla="*/ 1 w 259"/>
                  <a:gd name="T7" fmla="*/ 1 h 104"/>
                  <a:gd name="T8" fmla="*/ 1 w 259"/>
                  <a:gd name="T9" fmla="*/ 1 h 104"/>
                  <a:gd name="T10" fmla="*/ 2 w 259"/>
                  <a:gd name="T11" fmla="*/ 1 h 104"/>
                  <a:gd name="T12" fmla="*/ 3 w 259"/>
                  <a:gd name="T13" fmla="*/ 0 h 104"/>
                  <a:gd name="T14" fmla="*/ 3 w 259"/>
                  <a:gd name="T15" fmla="*/ 0 h 104"/>
                  <a:gd name="T16" fmla="*/ 3 w 259"/>
                  <a:gd name="T17" fmla="*/ 0 h 104"/>
                  <a:gd name="T18" fmla="*/ 2 w 259"/>
                  <a:gd name="T19" fmla="*/ 0 h 104"/>
                  <a:gd name="T20" fmla="*/ 2 w 259"/>
                  <a:gd name="T21" fmla="*/ 0 h 104"/>
                  <a:gd name="T22" fmla="*/ 1 w 259"/>
                  <a:gd name="T23" fmla="*/ 0 h 104"/>
                  <a:gd name="T24" fmla="*/ 1 w 259"/>
                  <a:gd name="T25" fmla="*/ 0 h 104"/>
                  <a:gd name="T26" fmla="*/ 0 w 259"/>
                  <a:gd name="T27" fmla="*/ 1 h 104"/>
                  <a:gd name="T28" fmla="*/ 0 w 259"/>
                  <a:gd name="T29" fmla="*/ 1 h 104"/>
                  <a:gd name="T30" fmla="*/ 0 w 259"/>
                  <a:gd name="T31" fmla="*/ 1 h 104"/>
                  <a:gd name="T32" fmla="*/ 0 w 259"/>
                  <a:gd name="T33" fmla="*/ 1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387" name="Freeform 527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767658" y="2961329"/>
              <a:ext cx="530225" cy="511175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8" name="Freeform 528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242196" y="2505717"/>
              <a:ext cx="57150" cy="57150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9" name="Freeform 529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2981846" y="2718442"/>
              <a:ext cx="15875" cy="57150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0" name="Freeform 530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2573858" y="3064517"/>
              <a:ext cx="28575" cy="57150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1" name="Freeform 531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2515121" y="3080392"/>
              <a:ext cx="23812" cy="60325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2" name="Freeform 532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2489721" y="3074042"/>
              <a:ext cx="6350" cy="57150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3" name="Freeform 533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761308" y="2802579"/>
              <a:ext cx="174625" cy="158750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4" name="Freeform 534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855221" y="3183579"/>
              <a:ext cx="42862" cy="79375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395" name="Group 535"/>
            <p:cNvGrpSpPr>
              <a:grpSpLocks/>
            </p:cNvGrpSpPr>
            <p:nvPr>
              <p:custDataLst>
                <p:tags r:id="rId174"/>
              </p:custDataLst>
            </p:nvPr>
          </p:nvGrpSpPr>
          <p:grpSpPr bwMode="auto">
            <a:xfrm>
              <a:off x="3502546" y="2651767"/>
              <a:ext cx="482600" cy="201612"/>
              <a:chOff x="3289" y="1830"/>
              <a:chExt cx="363" cy="128"/>
            </a:xfrm>
          </p:grpSpPr>
          <p:sp>
            <p:nvSpPr>
              <p:cNvPr id="407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0 w 13"/>
                  <a:gd name="T11" fmla="*/ 0 h 7"/>
                  <a:gd name="T12" fmla="*/ 0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08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0 h 8"/>
                  <a:gd name="T2" fmla="*/ 0 w 34"/>
                  <a:gd name="T3" fmla="*/ 0 h 8"/>
                  <a:gd name="T4" fmla="*/ 0 w 34"/>
                  <a:gd name="T5" fmla="*/ 0 h 8"/>
                  <a:gd name="T6" fmla="*/ 0 w 34"/>
                  <a:gd name="T7" fmla="*/ 0 h 8"/>
                  <a:gd name="T8" fmla="*/ 0 w 34"/>
                  <a:gd name="T9" fmla="*/ 0 h 8"/>
                  <a:gd name="T10" fmla="*/ 0 w 34"/>
                  <a:gd name="T11" fmla="*/ 0 h 8"/>
                  <a:gd name="T12" fmla="*/ 0 w 34"/>
                  <a:gd name="T13" fmla="*/ 0 h 8"/>
                  <a:gd name="T14" fmla="*/ 0 w 34"/>
                  <a:gd name="T15" fmla="*/ 0 h 8"/>
                  <a:gd name="T16" fmla="*/ 0 w 34"/>
                  <a:gd name="T17" fmla="*/ 0 h 8"/>
                  <a:gd name="T18" fmla="*/ 0 w 34"/>
                  <a:gd name="T19" fmla="*/ 0 h 8"/>
                  <a:gd name="T20" fmla="*/ 0 w 34"/>
                  <a:gd name="T21" fmla="*/ 0 h 8"/>
                  <a:gd name="T22" fmla="*/ 0 w 34"/>
                  <a:gd name="T23" fmla="*/ 0 h 8"/>
                  <a:gd name="T24" fmla="*/ 0 w 34"/>
                  <a:gd name="T25" fmla="*/ 0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09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0 h 24"/>
                  <a:gd name="T2" fmla="*/ 0 w 13"/>
                  <a:gd name="T3" fmla="*/ 0 h 24"/>
                  <a:gd name="T4" fmla="*/ 0 w 13"/>
                  <a:gd name="T5" fmla="*/ 0 h 24"/>
                  <a:gd name="T6" fmla="*/ 0 w 13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0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0 h 69"/>
                  <a:gd name="T2" fmla="*/ 0 w 107"/>
                  <a:gd name="T3" fmla="*/ 0 h 69"/>
                  <a:gd name="T4" fmla="*/ 0 w 107"/>
                  <a:gd name="T5" fmla="*/ 1 h 69"/>
                  <a:gd name="T6" fmla="*/ 0 w 107"/>
                  <a:gd name="T7" fmla="*/ 1 h 69"/>
                  <a:gd name="T8" fmla="*/ 0 w 107"/>
                  <a:gd name="T9" fmla="*/ 1 h 69"/>
                  <a:gd name="T10" fmla="*/ 0 w 107"/>
                  <a:gd name="T11" fmla="*/ 1 h 69"/>
                  <a:gd name="T12" fmla="*/ 1 w 107"/>
                  <a:gd name="T13" fmla="*/ 1 h 69"/>
                  <a:gd name="T14" fmla="*/ 1 w 107"/>
                  <a:gd name="T15" fmla="*/ 1 h 69"/>
                  <a:gd name="T16" fmla="*/ 1 w 107"/>
                  <a:gd name="T17" fmla="*/ 1 h 69"/>
                  <a:gd name="T18" fmla="*/ 1 w 107"/>
                  <a:gd name="T19" fmla="*/ 0 h 69"/>
                  <a:gd name="T20" fmla="*/ 1 w 107"/>
                  <a:gd name="T21" fmla="*/ 0 h 69"/>
                  <a:gd name="T22" fmla="*/ 1 w 107"/>
                  <a:gd name="T23" fmla="*/ 0 h 69"/>
                  <a:gd name="T24" fmla="*/ 1 w 107"/>
                  <a:gd name="T25" fmla="*/ 0 h 69"/>
                  <a:gd name="T26" fmla="*/ 1 w 107"/>
                  <a:gd name="T27" fmla="*/ 0 h 69"/>
                  <a:gd name="T28" fmla="*/ 1 w 107"/>
                  <a:gd name="T29" fmla="*/ 0 h 69"/>
                  <a:gd name="T30" fmla="*/ 1 w 107"/>
                  <a:gd name="T31" fmla="*/ 0 h 69"/>
                  <a:gd name="T32" fmla="*/ 1 w 107"/>
                  <a:gd name="T33" fmla="*/ 0 h 69"/>
                  <a:gd name="T34" fmla="*/ 1 w 107"/>
                  <a:gd name="T35" fmla="*/ 0 h 69"/>
                  <a:gd name="T36" fmla="*/ 1 w 107"/>
                  <a:gd name="T37" fmla="*/ 0 h 69"/>
                  <a:gd name="T38" fmla="*/ 1 w 107"/>
                  <a:gd name="T39" fmla="*/ 0 h 69"/>
                  <a:gd name="T40" fmla="*/ 0 w 107"/>
                  <a:gd name="T41" fmla="*/ 0 h 69"/>
                  <a:gd name="T42" fmla="*/ 0 w 107"/>
                  <a:gd name="T43" fmla="*/ 0 h 69"/>
                  <a:gd name="T44" fmla="*/ 0 w 107"/>
                  <a:gd name="T45" fmla="*/ 0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1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11 w 1070"/>
                  <a:gd name="T1" fmla="*/ 2 h 382"/>
                  <a:gd name="T2" fmla="*/ 11 w 1070"/>
                  <a:gd name="T3" fmla="*/ 1 h 382"/>
                  <a:gd name="T4" fmla="*/ 11 w 1070"/>
                  <a:gd name="T5" fmla="*/ 1 h 382"/>
                  <a:gd name="T6" fmla="*/ 11 w 1070"/>
                  <a:gd name="T7" fmla="*/ 0 h 382"/>
                  <a:gd name="T8" fmla="*/ 9 w 1070"/>
                  <a:gd name="T9" fmla="*/ 0 h 382"/>
                  <a:gd name="T10" fmla="*/ 9 w 1070"/>
                  <a:gd name="T11" fmla="*/ 1 h 382"/>
                  <a:gd name="T12" fmla="*/ 8 w 1070"/>
                  <a:gd name="T13" fmla="*/ 1 h 382"/>
                  <a:gd name="T14" fmla="*/ 7 w 1070"/>
                  <a:gd name="T15" fmla="*/ 1 h 382"/>
                  <a:gd name="T16" fmla="*/ 7 w 1070"/>
                  <a:gd name="T17" fmla="*/ 1 h 382"/>
                  <a:gd name="T18" fmla="*/ 7 w 1070"/>
                  <a:gd name="T19" fmla="*/ 0 h 382"/>
                  <a:gd name="T20" fmla="*/ 6 w 1070"/>
                  <a:gd name="T21" fmla="*/ 0 h 382"/>
                  <a:gd name="T22" fmla="*/ 6 w 1070"/>
                  <a:gd name="T23" fmla="*/ 0 h 382"/>
                  <a:gd name="T24" fmla="*/ 5 w 1070"/>
                  <a:gd name="T25" fmla="*/ 0 h 382"/>
                  <a:gd name="T26" fmla="*/ 5 w 1070"/>
                  <a:gd name="T27" fmla="*/ 0 h 382"/>
                  <a:gd name="T28" fmla="*/ 3 w 1070"/>
                  <a:gd name="T29" fmla="*/ 0 h 382"/>
                  <a:gd name="T30" fmla="*/ 3 w 1070"/>
                  <a:gd name="T31" fmla="*/ 1 h 382"/>
                  <a:gd name="T32" fmla="*/ 2 w 1070"/>
                  <a:gd name="T33" fmla="*/ 1 h 382"/>
                  <a:gd name="T34" fmla="*/ 2 w 1070"/>
                  <a:gd name="T35" fmla="*/ 1 h 382"/>
                  <a:gd name="T36" fmla="*/ 2 w 1070"/>
                  <a:gd name="T37" fmla="*/ 1 h 382"/>
                  <a:gd name="T38" fmla="*/ 1 w 1070"/>
                  <a:gd name="T39" fmla="*/ 1 h 382"/>
                  <a:gd name="T40" fmla="*/ 1 w 1070"/>
                  <a:gd name="T41" fmla="*/ 1 h 382"/>
                  <a:gd name="T42" fmla="*/ 0 w 1070"/>
                  <a:gd name="T43" fmla="*/ 1 h 382"/>
                  <a:gd name="T44" fmla="*/ 0 w 1070"/>
                  <a:gd name="T45" fmla="*/ 2 h 382"/>
                  <a:gd name="T46" fmla="*/ 0 w 1070"/>
                  <a:gd name="T47" fmla="*/ 2 h 382"/>
                  <a:gd name="T48" fmla="*/ 0 w 1070"/>
                  <a:gd name="T49" fmla="*/ 2 h 382"/>
                  <a:gd name="T50" fmla="*/ 0 w 1070"/>
                  <a:gd name="T51" fmla="*/ 3 h 382"/>
                  <a:gd name="T52" fmla="*/ 1 w 1070"/>
                  <a:gd name="T53" fmla="*/ 3 h 382"/>
                  <a:gd name="T54" fmla="*/ 1 w 1070"/>
                  <a:gd name="T55" fmla="*/ 3 h 382"/>
                  <a:gd name="T56" fmla="*/ 1 w 1070"/>
                  <a:gd name="T57" fmla="*/ 3 h 382"/>
                  <a:gd name="T58" fmla="*/ 1 w 1070"/>
                  <a:gd name="T59" fmla="*/ 4 h 382"/>
                  <a:gd name="T60" fmla="*/ 2 w 1070"/>
                  <a:gd name="T61" fmla="*/ 4 h 382"/>
                  <a:gd name="T62" fmla="*/ 3 w 1070"/>
                  <a:gd name="T63" fmla="*/ 5 h 382"/>
                  <a:gd name="T64" fmla="*/ 3 w 1070"/>
                  <a:gd name="T65" fmla="*/ 4 h 382"/>
                  <a:gd name="T66" fmla="*/ 3 w 1070"/>
                  <a:gd name="T67" fmla="*/ 4 h 382"/>
                  <a:gd name="T68" fmla="*/ 3 w 1070"/>
                  <a:gd name="T69" fmla="*/ 4 h 382"/>
                  <a:gd name="T70" fmla="*/ 4 w 1070"/>
                  <a:gd name="T71" fmla="*/ 4 h 382"/>
                  <a:gd name="T72" fmla="*/ 4 w 1070"/>
                  <a:gd name="T73" fmla="*/ 4 h 382"/>
                  <a:gd name="T74" fmla="*/ 5 w 1070"/>
                  <a:gd name="T75" fmla="*/ 5 h 382"/>
                  <a:gd name="T76" fmla="*/ 5 w 1070"/>
                  <a:gd name="T77" fmla="*/ 4 h 382"/>
                  <a:gd name="T78" fmla="*/ 6 w 1070"/>
                  <a:gd name="T79" fmla="*/ 4 h 382"/>
                  <a:gd name="T80" fmla="*/ 6 w 1070"/>
                  <a:gd name="T81" fmla="*/ 4 h 382"/>
                  <a:gd name="T82" fmla="*/ 7 w 1070"/>
                  <a:gd name="T83" fmla="*/ 4 h 382"/>
                  <a:gd name="T84" fmla="*/ 7 w 1070"/>
                  <a:gd name="T85" fmla="*/ 5 h 382"/>
                  <a:gd name="T86" fmla="*/ 7 w 1070"/>
                  <a:gd name="T87" fmla="*/ 5 h 382"/>
                  <a:gd name="T88" fmla="*/ 7 w 1070"/>
                  <a:gd name="T89" fmla="*/ 5 h 382"/>
                  <a:gd name="T90" fmla="*/ 8 w 1070"/>
                  <a:gd name="T91" fmla="*/ 4 h 382"/>
                  <a:gd name="T92" fmla="*/ 9 w 1070"/>
                  <a:gd name="T93" fmla="*/ 4 h 382"/>
                  <a:gd name="T94" fmla="*/ 9 w 1070"/>
                  <a:gd name="T95" fmla="*/ 4 h 382"/>
                  <a:gd name="T96" fmla="*/ 10 w 1070"/>
                  <a:gd name="T97" fmla="*/ 4 h 382"/>
                  <a:gd name="T98" fmla="*/ 11 w 1070"/>
                  <a:gd name="T99" fmla="*/ 4 h 382"/>
                  <a:gd name="T100" fmla="*/ 11 w 1070"/>
                  <a:gd name="T101" fmla="*/ 4 h 382"/>
                  <a:gd name="T102" fmla="*/ 12 w 1070"/>
                  <a:gd name="T103" fmla="*/ 4 h 382"/>
                  <a:gd name="T104" fmla="*/ 12 w 1070"/>
                  <a:gd name="T105" fmla="*/ 3 h 382"/>
                  <a:gd name="T106" fmla="*/ 12 w 1070"/>
                  <a:gd name="T107" fmla="*/ 3 h 382"/>
                  <a:gd name="T108" fmla="*/ 12 w 1070"/>
                  <a:gd name="T109" fmla="*/ 2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685983">
                  <a:defRPr/>
                </a:pPr>
                <a:endParaRPr lang="en-GB" sz="1350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sp>
          <p:nvSpPr>
            <p:cNvPr id="396" name="Freeform 542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436121" y="3240729"/>
              <a:ext cx="207962" cy="458788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7" name="Freeform 544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15333" y="3185167"/>
              <a:ext cx="174625" cy="271462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8" name="Freeform 545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2942158" y="3239142"/>
              <a:ext cx="376238" cy="385762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9" name="Freeform 546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2611958" y="2856554"/>
              <a:ext cx="300038" cy="260350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0" name="Freeform 547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312046" y="1786579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1" name="Freeform 548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823221" y="1770704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2" name="Freeform 549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966096" y="1753242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3" name="Freeform 550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002608" y="1761179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4" name="Freeform 454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3329508" y="2612079"/>
              <a:ext cx="46038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5" name="Freeform 22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3448571" y="1606399"/>
              <a:ext cx="3065462" cy="107473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92D05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defTabSz="685983">
                <a:defRPr/>
              </a:pPr>
              <a:endParaRPr lang="en-GB" sz="135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6" name="Freeform 44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3145880" y="3577279"/>
              <a:ext cx="193675" cy="349250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685983">
                <a:defRPr/>
              </a:pPr>
              <a:endParaRPr lang="en-GB" sz="135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6576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>
                <a:solidFill>
                  <a:srgbClr val="7030A0"/>
                </a:solidFill>
              </a:rPr>
              <a:t>Information exchange under the</a:t>
            </a:r>
            <a:br>
              <a:rPr lang="en-GB" altLang="en-US" dirty="0">
                <a:solidFill>
                  <a:srgbClr val="7030A0"/>
                </a:solidFill>
              </a:rPr>
            </a:br>
            <a:r>
              <a:rPr lang="en-GB" altLang="en-US" dirty="0">
                <a:solidFill>
                  <a:srgbClr val="7030A0"/>
                </a:solidFill>
              </a:rPr>
              <a:t>Water Convention</a:t>
            </a:r>
            <a:endParaRPr lang="en-US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1"/>
            <a:ext cx="6347048" cy="4800600"/>
          </a:xfrm>
        </p:spPr>
        <p:txBody>
          <a:bodyPr>
            <a:normAutofit lnSpcReduction="1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fr-CH" altLang="en-US" b="1" dirty="0"/>
              <a:t>General obligation </a:t>
            </a:r>
            <a:r>
              <a:rPr lang="fr-CH" altLang="en-US" dirty="0"/>
              <a:t>to all Parties to «</a:t>
            </a:r>
            <a:r>
              <a:rPr lang="fr-CH" altLang="en-US" dirty="0" err="1"/>
              <a:t>provide</a:t>
            </a:r>
            <a:r>
              <a:rPr lang="fr-CH" altLang="en-US" dirty="0"/>
              <a:t> for the </a:t>
            </a:r>
            <a:r>
              <a:rPr lang="fr-CH" altLang="en-US" dirty="0" err="1"/>
              <a:t>widest</a:t>
            </a:r>
            <a:r>
              <a:rPr lang="fr-CH" altLang="en-US" dirty="0"/>
              <a:t> exchange of information, as </a:t>
            </a:r>
            <a:r>
              <a:rPr lang="fr-CH" altLang="en-US" dirty="0" err="1"/>
              <a:t>early</a:t>
            </a:r>
            <a:r>
              <a:rPr lang="fr-CH" altLang="en-US" dirty="0"/>
              <a:t> as possible on issues </a:t>
            </a:r>
            <a:r>
              <a:rPr lang="fr-CH" altLang="en-US" dirty="0" err="1"/>
              <a:t>covered</a:t>
            </a:r>
            <a:r>
              <a:rPr lang="fr-CH" altLang="en-US" dirty="0"/>
              <a:t> by the provisions of the Convention»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altLang="en-US" dirty="0"/>
              <a:t>Protection of information </a:t>
            </a:r>
            <a:r>
              <a:rPr lang="fr-CH" altLang="en-US" dirty="0" err="1"/>
              <a:t>related</a:t>
            </a:r>
            <a:r>
              <a:rPr lang="fr-CH" altLang="en-US" dirty="0"/>
              <a:t> to «</a:t>
            </a:r>
            <a:r>
              <a:rPr lang="fr-CH" altLang="en-US" dirty="0" err="1"/>
              <a:t>industrial</a:t>
            </a:r>
            <a:r>
              <a:rPr lang="fr-CH" altLang="en-US" dirty="0"/>
              <a:t> and commercial </a:t>
            </a:r>
            <a:r>
              <a:rPr lang="fr-CH" altLang="en-US" dirty="0" err="1"/>
              <a:t>secrecy</a:t>
            </a:r>
            <a:r>
              <a:rPr lang="fr-CH" altLang="en-US" dirty="0"/>
              <a:t>, </a:t>
            </a:r>
            <a:r>
              <a:rPr lang="fr-CH" altLang="en-US" dirty="0" err="1"/>
              <a:t>including</a:t>
            </a:r>
            <a:r>
              <a:rPr lang="fr-CH" altLang="en-US" dirty="0"/>
              <a:t> </a:t>
            </a:r>
            <a:r>
              <a:rPr lang="fr-CH" altLang="en-US" dirty="0" err="1"/>
              <a:t>intellectual</a:t>
            </a:r>
            <a:r>
              <a:rPr lang="fr-CH" altLang="en-US" dirty="0"/>
              <a:t> </a:t>
            </a:r>
            <a:r>
              <a:rPr lang="fr-CH" altLang="en-US" dirty="0" err="1"/>
              <a:t>property</a:t>
            </a:r>
            <a:r>
              <a:rPr lang="fr-CH" altLang="en-US" dirty="0"/>
              <a:t>, or national </a:t>
            </a:r>
            <a:r>
              <a:rPr lang="fr-CH" altLang="en-US" dirty="0" err="1"/>
              <a:t>security</a:t>
            </a:r>
            <a:r>
              <a:rPr lang="fr-CH" altLang="en-US" dirty="0"/>
              <a:t>»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r-CH" altLang="en-US" dirty="0"/>
              <a:t> </a:t>
            </a:r>
            <a:r>
              <a:rPr lang="fr-CH" altLang="en-US" b="1" dirty="0"/>
              <a:t>Obligations for </a:t>
            </a:r>
            <a:r>
              <a:rPr lang="fr-CH" altLang="en-US" b="1" dirty="0" err="1"/>
              <a:t>riparian</a:t>
            </a:r>
            <a:r>
              <a:rPr lang="fr-CH" altLang="en-US" b="1" dirty="0"/>
              <a:t> Parties</a:t>
            </a:r>
            <a:r>
              <a:rPr lang="fr-CH" altLang="en-US" dirty="0"/>
              <a:t>, in the </a:t>
            </a:r>
            <a:r>
              <a:rPr lang="fr-CH" altLang="en-US" dirty="0" err="1"/>
              <a:t>framework</a:t>
            </a:r>
            <a:r>
              <a:rPr lang="fr-CH" altLang="en-US" dirty="0"/>
              <a:t> of </a:t>
            </a:r>
            <a:r>
              <a:rPr lang="fr-CH" altLang="en-US" dirty="0" err="1"/>
              <a:t>agreements</a:t>
            </a:r>
            <a:r>
              <a:rPr lang="fr-CH" altLang="en-US" dirty="0"/>
              <a:t> and joint institutions to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fr-CH" altLang="en-US" dirty="0"/>
              <a:t>Carry out joint </a:t>
            </a:r>
            <a:r>
              <a:rPr lang="en-GB" altLang="en-US" dirty="0"/>
              <a:t>monitoring and assessment of transboundary waters  (quantity and quality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altLang="en-US" dirty="0"/>
              <a:t>Exchange inform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altLang="en-US" dirty="0"/>
              <a:t>Make assessment information available to the public</a:t>
            </a:r>
            <a:endParaRPr lang="fr-CH" altLang="en-US" dirty="0"/>
          </a:p>
          <a:p>
            <a:r>
              <a:rPr lang="en-GB" altLang="en-US" dirty="0"/>
              <a:t>Water Convention encourages continuously expand the range of information to be exchanged </a:t>
            </a:r>
          </a:p>
          <a:p>
            <a:endParaRPr lang="en-GB" altLang="en-US" dirty="0"/>
          </a:p>
          <a:p>
            <a:endParaRPr lang="en-GB" alt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408" y="1295401"/>
            <a:ext cx="2302166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62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686800" cy="762000"/>
          </a:xfrm>
        </p:spPr>
        <p:txBody>
          <a:bodyPr/>
          <a:lstStyle/>
          <a:p>
            <a:r>
              <a:rPr lang="en-GB" altLang="en-US" sz="3000" dirty="0">
                <a:solidFill>
                  <a:srgbClr val="7030A0"/>
                </a:solidFill>
              </a:rPr>
              <a:t>Scope of the data and information to be exchanged between Riparian Parties (art. 13)</a:t>
            </a:r>
            <a:endParaRPr lang="en-US" sz="3000" dirty="0">
              <a:solidFill>
                <a:srgbClr val="7030A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altLang="en-US" sz="2400" dirty="0"/>
              <a:t>Conditions of transboundary waters</a:t>
            </a:r>
          </a:p>
          <a:p>
            <a:r>
              <a:rPr lang="en-GB" altLang="en-US" sz="2400" dirty="0"/>
              <a:t>Experience on BAT and research results</a:t>
            </a:r>
          </a:p>
          <a:p>
            <a:r>
              <a:rPr lang="en-GB" altLang="en-US" sz="2400" dirty="0"/>
              <a:t>Emission and monitoring data</a:t>
            </a:r>
          </a:p>
          <a:p>
            <a:r>
              <a:rPr lang="en-GB" altLang="en-US" sz="2400" dirty="0"/>
              <a:t>Measures taken or planned to prevent, control and reduce transboundary impacts</a:t>
            </a:r>
          </a:p>
          <a:p>
            <a:r>
              <a:rPr lang="en-GB" altLang="en-US" sz="2400" dirty="0"/>
              <a:t>Permits or regulations for wastewater discharges</a:t>
            </a:r>
          </a:p>
          <a:p>
            <a:r>
              <a:rPr lang="en-GB" altLang="en-US" sz="2400" dirty="0"/>
              <a:t>National regulations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altLang="en-US" sz="2400" dirty="0"/>
              <a:t>Exchange of readily available information should be free of charge</a:t>
            </a:r>
          </a:p>
          <a:p>
            <a:pPr>
              <a:buFont typeface="Symbol" panose="05050102010706020507" pitchFamily="18" charset="2"/>
              <a:buChar char="Þ"/>
            </a:pPr>
            <a:r>
              <a:rPr lang="en-GB" altLang="en-US" sz="2400" dirty="0"/>
              <a:t>If not readily available, there could be a reasonable charge for the processing of the information</a:t>
            </a:r>
          </a:p>
        </p:txBody>
      </p:sp>
    </p:spTree>
    <p:extLst>
      <p:ext uri="{BB962C8B-B14F-4D97-AF65-F5344CB8AC3E}">
        <p14:creationId xmlns:p14="http://schemas.microsoft.com/office/powerpoint/2010/main" val="310320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solidFill>
                  <a:srgbClr val="7030A0"/>
                </a:solidFill>
              </a:rPr>
              <a:t>Why information on the status of water resources is necessary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CA" sz="2400" dirty="0"/>
              <a:t>Information is the basis for decision-making and policy development</a:t>
            </a:r>
          </a:p>
          <a:p>
            <a:r>
              <a:rPr lang="en-CA" sz="2400" dirty="0"/>
              <a:t>To guide management efforts — accurate identification of pressure sources, determining suitability of waters for use etc.</a:t>
            </a:r>
          </a:p>
          <a:p>
            <a:r>
              <a:rPr lang="en-CA" sz="2400" dirty="0"/>
              <a:t>To verify effectiveness of measures taken</a:t>
            </a:r>
          </a:p>
          <a:p>
            <a:r>
              <a:rPr lang="en-CA" sz="2400" dirty="0"/>
              <a:t>To increase efficiency in allocating funds</a:t>
            </a:r>
          </a:p>
          <a:p>
            <a:r>
              <a:rPr lang="en-CA" sz="2400" dirty="0"/>
              <a:t>In shared waters, comparable information across the basin is needed to form a comprehensive picture of the situation</a:t>
            </a:r>
          </a:p>
          <a:p>
            <a:r>
              <a:rPr lang="en-CA" sz="2400" dirty="0"/>
              <a:t>To provide evidence to inform inter-</a:t>
            </a:r>
            <a:r>
              <a:rPr lang="en-CA" sz="2400" dirty="0" err="1"/>
              <a:t>sectoral</a:t>
            </a:r>
            <a:r>
              <a:rPr lang="en-CA" sz="2400" dirty="0"/>
              <a:t> and transboundary dialogue (e.g. agricultural and energy policies impact on waters) 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823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dirty="0">
                <a:solidFill>
                  <a:srgbClr val="7030A0"/>
                </a:solidFill>
              </a:rPr>
              <a:t>Diverse information needs to support water management</a:t>
            </a:r>
          </a:p>
        </p:txBody>
      </p:sp>
      <p:pic>
        <p:nvPicPr>
          <p:cNvPr id="6144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772951" y="1511086"/>
            <a:ext cx="6789899" cy="5119432"/>
          </a:xfrm>
        </p:spPr>
      </p:pic>
      <p:sp>
        <p:nvSpPr>
          <p:cNvPr id="3" name="TextBox 2"/>
          <p:cNvSpPr txBox="1"/>
          <p:nvPr/>
        </p:nvSpPr>
        <p:spPr>
          <a:xfrm>
            <a:off x="4876800" y="1511085"/>
            <a:ext cx="4172937" cy="17235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formation needs derive from:</a:t>
            </a: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- main water uses and functions</a:t>
            </a: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- main issues</a:t>
            </a:r>
          </a:p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- management objectives </a:t>
            </a: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481349" y="5733256"/>
            <a:ext cx="39095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ization of issues → prioritization of information needs</a:t>
            </a:r>
          </a:p>
        </p:txBody>
      </p:sp>
    </p:spTree>
    <p:extLst>
      <p:ext uri="{BB962C8B-B14F-4D97-AF65-F5344CB8AC3E}">
        <p14:creationId xmlns:p14="http://schemas.microsoft.com/office/powerpoint/2010/main" val="4241301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heme/theme1.xml><?xml version="1.0" encoding="utf-8"?>
<a:theme xmlns:a="http://schemas.openxmlformats.org/drawingml/2006/main" name="UNECE_POTX_4x3">
  <a:themeElements>
    <a:clrScheme name="SDG color palette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A97D9"/>
      </a:accent1>
      <a:accent2>
        <a:srgbClr val="DD1367"/>
      </a:accent2>
      <a:accent3>
        <a:srgbClr val="FCC30B"/>
      </a:accent3>
      <a:accent4>
        <a:srgbClr val="FD6925"/>
      </a:accent4>
      <a:accent5>
        <a:srgbClr val="4C9F38"/>
      </a:accent5>
      <a:accent6>
        <a:srgbClr val="E5243B"/>
      </a:accent6>
      <a:hlink>
        <a:srgbClr val="0563C1"/>
      </a:hlink>
      <a:folHlink>
        <a:srgbClr val="954F72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miter lim="800000"/>
        </a:ln>
        <a:ln w="25400" cap="flat" cmpd="sng" algn="ctr">
          <a:solidFill>
            <a:schemeClr val="phClr"/>
          </a:solidFill>
          <a:miter lim="800000"/>
        </a:ln>
        <a:ln w="38100" cap="flat" cmpd="sng" algn="ctr">
          <a:solidFill>
            <a:schemeClr val="phClr"/>
          </a:solidFill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9050">
          <a:noFill/>
          <a:miter lim="800000"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2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miter lim="800000"/>
        </a:ln>
        <a:ln w="25400" cap="flat" cmpd="sng" algn="ctr">
          <a:solidFill>
            <a:schemeClr val="phClr"/>
          </a:solidFill>
          <a:miter lim="800000"/>
        </a:ln>
        <a:ln w="38100" cap="flat" cmpd="sng" algn="ctr">
          <a:solidFill>
            <a:schemeClr val="phClr"/>
          </a:solidFill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3.xml><?xml version="1.0" encoding="utf-8"?>
<a:theme xmlns:a="http://schemas.openxmlformats.org/drawingml/2006/main" name="Office Theme">
  <a:themeElements>
    <a:clrScheme name="HP">
      <a:dk1>
        <a:sysClr val="windowText" lastClr="000000"/>
      </a:dk1>
      <a:lt1>
        <a:sysClr val="window" lastClr="FFFFFF"/>
      </a:lt1>
      <a:dk2>
        <a:srgbClr val="535455"/>
      </a:dk2>
      <a:lt2>
        <a:srgbClr val="E5E8E8"/>
      </a:lt2>
      <a:accent1>
        <a:srgbClr val="0096D6"/>
      </a:accent1>
      <a:accent2>
        <a:srgbClr val="822980"/>
      </a:accent2>
      <a:accent3>
        <a:srgbClr val="87898B"/>
      </a:accent3>
      <a:accent4>
        <a:srgbClr val="99D5EF"/>
      </a:accent4>
      <a:accent5>
        <a:srgbClr val="C094BF"/>
      </a:accent5>
      <a:accent6>
        <a:srgbClr val="B9B8BB"/>
      </a:accent6>
      <a:hlink>
        <a:srgbClr val="0096D6"/>
      </a:hlink>
      <a:folHlink>
        <a:srgbClr val="87898B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miter lim="800000"/>
        </a:ln>
        <a:ln w="25400" cap="flat" cmpd="sng" algn="ctr">
          <a:solidFill>
            <a:schemeClr val="phClr"/>
          </a:solidFill>
          <a:miter lim="800000"/>
        </a:ln>
        <a:ln w="38100" cap="flat" cmpd="sng" algn="ctr">
          <a:solidFill>
            <a:schemeClr val="phClr"/>
          </a:solidFill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err="1" smtClean="0"/>
        </a:defPPr>
      </a:lstStyle>
    </a:txDef>
  </a:objectDefaults>
  <a:extraClrSchemeLst/>
  <a:custClrLst>
    <a:custClr name="65% HP blue">
      <a:srgbClr val="59BBE4"/>
    </a:custClr>
    <a:custClr name="15% HP blue">
      <a:srgbClr val="D9EFF9"/>
    </a:custClr>
    <a:custClr name="Green">
      <a:srgbClr val="008B2C"/>
    </a:custClr>
    <a:custClr name="75% Green">
      <a:srgbClr val="40A85F"/>
    </a:custClr>
    <a:custClr name="50% Green">
      <a:srgbClr val="7FC594"/>
    </a:custClr>
    <a:custClr name="25% Green">
      <a:srgbClr val="BFE2CA"/>
    </a:custClr>
    <a:custClr name="Orange">
      <a:srgbClr val="F05332"/>
    </a:custClr>
    <a:custClr name="75% Orange">
      <a:srgbClr val="F47E65"/>
    </a:custClr>
    <a:custClr name="50% Orange">
      <a:srgbClr val="F7A998"/>
    </a:custClr>
    <a:custClr name="25% Orange">
      <a:srgbClr val="FBD4C0"/>
    </a:custClr>
  </a:custClrLst>
</a:theme>
</file>

<file path=ppt/theme/themeOverride1.xml><?xml version="1.0" encoding="utf-8"?>
<a:themeOverride xmlns:a="http://schemas.openxmlformats.org/drawingml/2006/main">
  <a:clrScheme name="SDG color palette 2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0A97D9"/>
    </a:accent1>
    <a:accent2>
      <a:srgbClr val="DD1367"/>
    </a:accent2>
    <a:accent3>
      <a:srgbClr val="FCC30B"/>
    </a:accent3>
    <a:accent4>
      <a:srgbClr val="FD6925"/>
    </a:accent4>
    <a:accent5>
      <a:srgbClr val="4C9F38"/>
    </a:accent5>
    <a:accent6>
      <a:srgbClr val="E5243B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19</TotalTime>
  <Words>1190</Words>
  <Application>Microsoft Office PowerPoint</Application>
  <PresentationFormat>On-screen Show (4:3)</PresentationFormat>
  <Paragraphs>186</Paragraphs>
  <Slides>20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HP Simplified</vt:lpstr>
      <vt:lpstr>Arial</vt:lpstr>
      <vt:lpstr>Calibri</vt:lpstr>
      <vt:lpstr>Candara</vt:lpstr>
      <vt:lpstr>Symbol</vt:lpstr>
      <vt:lpstr>UNECE_POTX_4x3</vt:lpstr>
      <vt:lpstr>The Water Convention   Obligations on information sharing and monitoring and   Monitoring the implementation of transboundary  cooperation under SDG6 </vt:lpstr>
      <vt:lpstr>Water resources are essentially transboundary</vt:lpstr>
      <vt:lpstr>Purpose, scope and content of the  Water Convention</vt:lpstr>
      <vt:lpstr>Institutional framework</vt:lpstr>
      <vt:lpstr>Status of ratification of the Water Convention</vt:lpstr>
      <vt:lpstr>Information exchange under the Water Convention</vt:lpstr>
      <vt:lpstr>Scope of the data and information to be exchanged between Riparian Parties (art. 13)</vt:lpstr>
      <vt:lpstr>Why information on the status of water resources is necessary?</vt:lpstr>
      <vt:lpstr>Diverse information needs to support water management</vt:lpstr>
      <vt:lpstr>Monitoring Cycle</vt:lpstr>
      <vt:lpstr>Gradual evolution of data and information in transboundary cooperation</vt:lpstr>
      <vt:lpstr>Guidelines and guidance documents</vt:lpstr>
      <vt:lpstr>Measuring transboundary water cooperation SDG indicator 6.5.2</vt:lpstr>
      <vt:lpstr>Initial results of the first reporting on SDG 6.5.2 </vt:lpstr>
      <vt:lpstr>Reporting under the Water Convention </vt:lpstr>
      <vt:lpstr>Initial results of the first reporting under the Water Convention:  Data and information exchange (Art. 6 &amp; 13)</vt:lpstr>
      <vt:lpstr>Overview Programme of work for 2019-2021</vt:lpstr>
      <vt:lpstr>Programme Area 2: Supporting monitoring, assessment and information sharing in transboundary basins </vt:lpstr>
      <vt:lpstr>Discussion</vt:lpstr>
      <vt:lpstr>PowerPoint Presentation</vt:lpstr>
    </vt:vector>
  </TitlesOfParts>
  <Company>ECE-IS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use this template</dc:title>
  <dc:creator>Jean Rodriguez</dc:creator>
  <cp:lastModifiedBy>Francesca Bernardini</cp:lastModifiedBy>
  <cp:revision>128</cp:revision>
  <cp:lastPrinted>2018-09-19T16:59:56Z</cp:lastPrinted>
  <dcterms:created xsi:type="dcterms:W3CDTF">2015-05-13T14:05:37Z</dcterms:created>
  <dcterms:modified xsi:type="dcterms:W3CDTF">2018-09-20T21:00:17Z</dcterms:modified>
</cp:coreProperties>
</file>